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325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0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8AA7C9-2E4F-48E0-BF9B-0091FCFF604D}" type="datetimeFigureOut">
              <a:rPr lang="en-US" smtClean="0"/>
              <a:t>9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80A418-5D05-48C8-AA3C-A62D0D6550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251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3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6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7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9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7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6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7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6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7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81.xml"/><Relationship Id="rId7" Type="http://schemas.openxmlformats.org/officeDocument/2006/relationships/image" Target="../media/image3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3.pn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3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3.png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3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3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3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6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7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9.pn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7" Type="http://schemas.openxmlformats.org/officeDocument/2006/relationships/image" Target="../media/image7.pn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image" Target="../media/image6.png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7.pn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6.png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7.png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5.xml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0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1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6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7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0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0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cap="all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TITLE IN TITLE CASE</a:t>
            </a:r>
          </a:p>
        </p:txBody>
      </p:sp>
      <p:grpSp>
        <p:nvGrpSpPr>
          <p:cNvPr id="13" name="Group 12"/>
          <p:cNvGrpSpPr>
            <a:grpSpLocks noChangeAspect="1"/>
          </p:cNvGrpSpPr>
          <p:nvPr userDrawn="1"/>
        </p:nvGrpSpPr>
        <p:grpSpPr>
          <a:xfrm>
            <a:off x="10028055" y="5402272"/>
            <a:ext cx="1442366" cy="1442363"/>
            <a:chOff x="5815584" y="2615183"/>
            <a:chExt cx="2999232" cy="2999233"/>
          </a:xfrm>
        </p:grpSpPr>
        <p:sp>
          <p:nvSpPr>
            <p:cNvPr id="16" name="object 3"/>
            <p:cNvSpPr/>
            <p:nvPr userDrawn="1"/>
          </p:nvSpPr>
          <p:spPr>
            <a:xfrm>
              <a:off x="5815584" y="2615183"/>
              <a:ext cx="2999232" cy="2999233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pPr hangingPunct="0"/>
              <a:endParaRPr kern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7" name="object 4"/>
            <p:cNvSpPr/>
            <p:nvPr userDrawn="1"/>
          </p:nvSpPr>
          <p:spPr>
            <a:xfrm>
              <a:off x="6192863" y="5033555"/>
              <a:ext cx="2244662" cy="203582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pPr hangingPunct="0"/>
              <a:endParaRPr kern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9" name="object 5"/>
            <p:cNvSpPr/>
            <p:nvPr userDrawn="1"/>
          </p:nvSpPr>
          <p:spPr>
            <a:xfrm>
              <a:off x="6192863" y="2992475"/>
              <a:ext cx="2244662" cy="203581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pPr hangingPunct="0"/>
              <a:endParaRPr kern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23" name="object 6"/>
            <p:cNvGrpSpPr/>
            <p:nvPr userDrawn="1"/>
          </p:nvGrpSpPr>
          <p:grpSpPr>
            <a:xfrm>
              <a:off x="6928174" y="3562082"/>
              <a:ext cx="717183" cy="1105435"/>
              <a:chOff x="0" y="0"/>
              <a:chExt cx="717182" cy="1105433"/>
            </a:xfrm>
          </p:grpSpPr>
          <p:sp>
            <p:nvSpPr>
              <p:cNvPr id="32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3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7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5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34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2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7" y="21583"/>
                    </a:lnTo>
                    <a:lnTo>
                      <a:pt x="9425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1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4" name="object 7"/>
            <p:cNvGrpSpPr/>
            <p:nvPr userDrawn="1"/>
          </p:nvGrpSpPr>
          <p:grpSpPr>
            <a:xfrm>
              <a:off x="7718148" y="3562082"/>
              <a:ext cx="717182" cy="1105434"/>
              <a:chOff x="0" y="0"/>
              <a:chExt cx="717181" cy="1105432"/>
            </a:xfrm>
          </p:grpSpPr>
          <p:sp>
            <p:nvSpPr>
              <p:cNvPr id="30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2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6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4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31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1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6" y="21583"/>
                    </a:lnTo>
                    <a:lnTo>
                      <a:pt x="9424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2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5" name="object 8"/>
            <p:cNvGrpSpPr/>
            <p:nvPr userDrawn="1"/>
          </p:nvGrpSpPr>
          <p:grpSpPr>
            <a:xfrm>
              <a:off x="6195071" y="3569853"/>
              <a:ext cx="732335" cy="1089903"/>
              <a:chOff x="0" y="0"/>
              <a:chExt cx="732334" cy="1089902"/>
            </a:xfrm>
          </p:grpSpPr>
          <p:sp>
            <p:nvSpPr>
              <p:cNvPr id="28" name="Shape"/>
              <p:cNvSpPr/>
              <p:nvPr/>
            </p:nvSpPr>
            <p:spPr>
              <a:xfrm>
                <a:off x="0" y="0"/>
                <a:ext cx="711249" cy="10899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3"/>
                    </a:lnTo>
                    <a:lnTo>
                      <a:pt x="12294" y="12983"/>
                    </a:lnTo>
                    <a:lnTo>
                      <a:pt x="14287" y="12857"/>
                    </a:lnTo>
                    <a:lnTo>
                      <a:pt x="16153" y="12479"/>
                    </a:lnTo>
                    <a:lnTo>
                      <a:pt x="17841" y="11881"/>
                    </a:lnTo>
                    <a:lnTo>
                      <a:pt x="19304" y="11094"/>
                    </a:lnTo>
                    <a:lnTo>
                      <a:pt x="20515" y="10136"/>
                    </a:lnTo>
                    <a:lnTo>
                      <a:pt x="21447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3" y="4225"/>
                    </a:lnTo>
                    <a:lnTo>
                      <a:pt x="21447" y="3973"/>
                    </a:lnTo>
                    <a:lnTo>
                      <a:pt x="20515" y="2872"/>
                    </a:lnTo>
                    <a:lnTo>
                      <a:pt x="19304" y="1917"/>
                    </a:lnTo>
                    <a:lnTo>
                      <a:pt x="17841" y="1126"/>
                    </a:lnTo>
                    <a:lnTo>
                      <a:pt x="16153" y="518"/>
                    </a:lnTo>
                    <a:lnTo>
                      <a:pt x="14287" y="130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9" name="Shape"/>
              <p:cNvSpPr/>
              <p:nvPr/>
            </p:nvSpPr>
            <p:spPr>
              <a:xfrm>
                <a:off x="377991" y="213181"/>
                <a:ext cx="354343" cy="22871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1" y="0"/>
                    </a:moveTo>
                    <a:lnTo>
                      <a:pt x="0" y="0"/>
                    </a:lnTo>
                    <a:lnTo>
                      <a:pt x="1371" y="196"/>
                    </a:lnTo>
                    <a:lnTo>
                      <a:pt x="2646" y="784"/>
                    </a:lnTo>
                    <a:lnTo>
                      <a:pt x="4905" y="3134"/>
                    </a:lnTo>
                    <a:lnTo>
                      <a:pt x="6454" y="6618"/>
                    </a:lnTo>
                    <a:lnTo>
                      <a:pt x="6971" y="10799"/>
                    </a:lnTo>
                    <a:lnTo>
                      <a:pt x="6841" y="12979"/>
                    </a:lnTo>
                    <a:lnTo>
                      <a:pt x="5809" y="16812"/>
                    </a:lnTo>
                    <a:lnTo>
                      <a:pt x="3824" y="19838"/>
                    </a:lnTo>
                    <a:lnTo>
                      <a:pt x="1371" y="21404"/>
                    </a:lnTo>
                    <a:lnTo>
                      <a:pt x="0" y="21600"/>
                    </a:lnTo>
                    <a:lnTo>
                      <a:pt x="20315" y="21600"/>
                    </a:lnTo>
                    <a:lnTo>
                      <a:pt x="20705" y="19988"/>
                    </a:lnTo>
                    <a:lnTo>
                      <a:pt x="21202" y="17016"/>
                    </a:lnTo>
                    <a:lnTo>
                      <a:pt x="21501" y="13954"/>
                    </a:lnTo>
                    <a:lnTo>
                      <a:pt x="21600" y="10799"/>
                    </a:lnTo>
                    <a:lnTo>
                      <a:pt x="21501" y="7650"/>
                    </a:lnTo>
                    <a:lnTo>
                      <a:pt x="21202" y="4600"/>
                    </a:lnTo>
                    <a:lnTo>
                      <a:pt x="20705" y="1651"/>
                    </a:lnTo>
                    <a:lnTo>
                      <a:pt x="20301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09540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0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716712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solidFill>
            <a:srgbClr val="FFFFFF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0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273378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0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544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73560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96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53159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5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1" b="6866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0358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9417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1670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9417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6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10983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4927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8" name="object 2"/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4630400" h="8229600">
                <a:moveTo>
                  <a:pt x="0" y="8229600"/>
                </a:moveTo>
                <a:lnTo>
                  <a:pt x="14630400" y="8229600"/>
                </a:lnTo>
                <a:lnTo>
                  <a:pt x="14630400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rgbClr val="1F4174"/>
          </a:solidFill>
        </p:spPr>
        <p:txBody>
          <a:bodyPr wrap="square" lIns="0" tIns="0" rIns="0" bIns="0" rtlCol="0"/>
          <a:lstStyle/>
          <a:p>
            <a:endParaRPr sz="1250" dirty="0"/>
          </a:p>
        </p:txBody>
      </p:sp>
      <p:sp>
        <p:nvSpPr>
          <p:cNvPr id="33" name="object 4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1513417" y="4883518"/>
            <a:ext cx="2607823" cy="492186"/>
          </a:xfrm>
          <a:prstGeom prst="rect">
            <a:avLst/>
          </a:prstGeom>
        </p:spPr>
        <p:txBody>
          <a:bodyPr wrap="square">
            <a:spAutoFit/>
          </a:bodyPr>
          <a:lstStyle>
            <a:lvl1pPr marR="4233" indent="10583">
              <a:lnSpc>
                <a:spcPct val="101899"/>
              </a:lnSpc>
              <a:defRPr cap="all" baseline="0">
                <a:solidFill>
                  <a:srgbClr val="B7E1EE"/>
                </a:solidFill>
                <a:latin typeface="+mj-lt"/>
                <a:ea typeface="Proxima Nova Semibold"/>
                <a:cs typeface="Proxima Nova Semibold"/>
                <a:sym typeface="Proxima Nova Semibold"/>
              </a:defRPr>
            </a:lvl1pPr>
          </a:lstStyle>
          <a:p>
            <a:r>
              <a:rPr lang="en-US"/>
              <a:t>DATE &amp; SUBTIDATLE  </a:t>
            </a:r>
          </a:p>
          <a:p>
            <a:r>
              <a:rPr lang="en-US"/>
              <a:t>18 / 22 PT. SEMIBOLD</a:t>
            </a:r>
          </a:p>
        </p:txBody>
      </p:sp>
      <p:sp>
        <p:nvSpPr>
          <p:cNvPr id="47" name="object 3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513417" y="1336882"/>
            <a:ext cx="5441175" cy="1951567"/>
          </a:xfrm>
          <a:prstGeom prst="rect">
            <a:avLst/>
          </a:prstGeom>
        </p:spPr>
        <p:txBody>
          <a:bodyPr>
            <a:normAutofit/>
          </a:bodyPr>
          <a:lstStyle>
            <a:lvl1pPr marL="0" marR="4233" indent="10583" algn="l" defTabSz="761970" rtl="0" eaLnBrk="1" fontAlgn="auto" latinLnBrk="0" hangingPunct="1">
              <a:lnSpc>
                <a:spcPts val="5000"/>
              </a:lnSpc>
              <a:spcBef>
                <a:spcPts val="417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cap="all" baseline="0">
                <a:solidFill>
                  <a:srgbClr val="B7E1EE"/>
                </a:solidFill>
                <a:latin typeface="+mj-lt"/>
                <a:ea typeface="Proxima Nova Semibold"/>
                <a:cs typeface="Proxima Nova Semibold"/>
                <a:sym typeface="Proxima Nova Semibold"/>
              </a:defRPr>
            </a:lvl1pPr>
          </a:lstStyle>
          <a:p>
            <a:pPr lvl="0"/>
            <a:r>
              <a:rPr lang="en-US"/>
              <a:t>NEW TITLE </a:t>
            </a:r>
            <a:br>
              <a:rPr lang="en-US"/>
            </a:br>
            <a:r>
              <a:rPr lang="en-US"/>
              <a:t>HEADING SLIDE</a:t>
            </a:r>
          </a:p>
        </p:txBody>
      </p:sp>
      <p:sp>
        <p:nvSpPr>
          <p:cNvPr id="50" name="object 6"/>
          <p:cNvSpPr/>
          <p:nvPr userDrawn="1"/>
        </p:nvSpPr>
        <p:spPr>
          <a:xfrm>
            <a:off x="10982096" y="5749761"/>
            <a:ext cx="834761" cy="834761"/>
          </a:xfrm>
          <a:custGeom>
            <a:avLst/>
            <a:gdLst/>
            <a:ahLst/>
            <a:cxnLst/>
            <a:rect l="l" t="t" r="r" b="b"/>
            <a:pathLst>
              <a:path w="1202055" h="1202054">
                <a:moveTo>
                  <a:pt x="1201801" y="1201801"/>
                </a:moveTo>
                <a:lnTo>
                  <a:pt x="0" y="1201801"/>
                </a:lnTo>
                <a:lnTo>
                  <a:pt x="0" y="0"/>
                </a:lnTo>
                <a:lnTo>
                  <a:pt x="1201801" y="0"/>
                </a:lnTo>
                <a:lnTo>
                  <a:pt x="1201801" y="1201801"/>
                </a:lnTo>
                <a:close/>
              </a:path>
            </a:pathLst>
          </a:custGeom>
          <a:solidFill>
            <a:srgbClr val="91D7EC"/>
          </a:solidFill>
        </p:spPr>
        <p:txBody>
          <a:bodyPr wrap="square" lIns="0" tIns="0" rIns="0" bIns="0" rtlCol="0"/>
          <a:lstStyle/>
          <a:p>
            <a:pPr defTabSz="634950"/>
            <a:endParaRPr sz="12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1" name="object 7"/>
          <p:cNvSpPr/>
          <p:nvPr userDrawn="1"/>
        </p:nvSpPr>
        <p:spPr>
          <a:xfrm>
            <a:off x="11087082" y="6451035"/>
            <a:ext cx="624857" cy="0"/>
          </a:xfrm>
          <a:custGeom>
            <a:avLst/>
            <a:gdLst/>
            <a:ahLst/>
            <a:cxnLst/>
            <a:rect l="l" t="t" r="r" b="b"/>
            <a:pathLst>
              <a:path w="899794">
                <a:moveTo>
                  <a:pt x="0" y="0"/>
                </a:moveTo>
                <a:lnTo>
                  <a:pt x="899439" y="0"/>
                </a:lnTo>
              </a:path>
            </a:pathLst>
          </a:custGeom>
          <a:ln w="8157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634950"/>
            <a:endParaRPr sz="12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object 8"/>
          <p:cNvSpPr/>
          <p:nvPr userDrawn="1"/>
        </p:nvSpPr>
        <p:spPr>
          <a:xfrm>
            <a:off x="11087082" y="5883071"/>
            <a:ext cx="624857" cy="0"/>
          </a:xfrm>
          <a:custGeom>
            <a:avLst/>
            <a:gdLst/>
            <a:ahLst/>
            <a:cxnLst/>
            <a:rect l="l" t="t" r="r" b="b"/>
            <a:pathLst>
              <a:path w="899794">
                <a:moveTo>
                  <a:pt x="0" y="0"/>
                </a:moveTo>
                <a:lnTo>
                  <a:pt x="899439" y="0"/>
                </a:lnTo>
              </a:path>
            </a:pathLst>
          </a:custGeom>
          <a:ln w="8157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634950"/>
            <a:endParaRPr sz="12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bject 9"/>
          <p:cNvSpPr/>
          <p:nvPr userDrawn="1"/>
        </p:nvSpPr>
        <p:spPr>
          <a:xfrm>
            <a:off x="11291686" y="6013253"/>
            <a:ext cx="199761" cy="307798"/>
          </a:xfrm>
          <a:custGeom>
            <a:avLst/>
            <a:gdLst/>
            <a:ahLst/>
            <a:cxnLst/>
            <a:rect l="l" t="t" r="r" b="b"/>
            <a:pathLst>
              <a:path w="287655" h="443229">
                <a:moveTo>
                  <a:pt x="87121" y="296989"/>
                </a:moveTo>
                <a:lnTo>
                  <a:pt x="0" y="296989"/>
                </a:lnTo>
                <a:lnTo>
                  <a:pt x="673" y="311513"/>
                </a:lnTo>
                <a:lnTo>
                  <a:pt x="10769" y="352793"/>
                </a:lnTo>
                <a:lnTo>
                  <a:pt x="32347" y="389380"/>
                </a:lnTo>
                <a:lnTo>
                  <a:pt x="63769" y="418747"/>
                </a:lnTo>
                <a:lnTo>
                  <a:pt x="101638" y="436858"/>
                </a:lnTo>
                <a:lnTo>
                  <a:pt x="143408" y="442950"/>
                </a:lnTo>
                <a:lnTo>
                  <a:pt x="157744" y="442272"/>
                </a:lnTo>
                <a:lnTo>
                  <a:pt x="198666" y="432193"/>
                </a:lnTo>
                <a:lnTo>
                  <a:pt x="234859" y="410351"/>
                </a:lnTo>
                <a:lnTo>
                  <a:pt x="263074" y="378252"/>
                </a:lnTo>
                <a:lnTo>
                  <a:pt x="275657" y="354698"/>
                </a:lnTo>
                <a:lnTo>
                  <a:pt x="135521" y="354698"/>
                </a:lnTo>
                <a:lnTo>
                  <a:pt x="128206" y="353199"/>
                </a:lnTo>
                <a:lnTo>
                  <a:pt x="94627" y="326326"/>
                </a:lnTo>
                <a:lnTo>
                  <a:pt x="87165" y="305130"/>
                </a:lnTo>
                <a:lnTo>
                  <a:pt x="87121" y="296989"/>
                </a:lnTo>
                <a:close/>
              </a:path>
              <a:path w="287655" h="443229">
                <a:moveTo>
                  <a:pt x="277698" y="0"/>
                </a:moveTo>
                <a:lnTo>
                  <a:pt x="31965" y="0"/>
                </a:lnTo>
                <a:lnTo>
                  <a:pt x="31965" y="88252"/>
                </a:lnTo>
                <a:lnTo>
                  <a:pt x="143979" y="88252"/>
                </a:lnTo>
                <a:lnTo>
                  <a:pt x="76873" y="239775"/>
                </a:lnTo>
                <a:lnTo>
                  <a:pt x="151244" y="239775"/>
                </a:lnTo>
                <a:lnTo>
                  <a:pt x="158648" y="241287"/>
                </a:lnTo>
                <a:lnTo>
                  <a:pt x="192747" y="268046"/>
                </a:lnTo>
                <a:lnTo>
                  <a:pt x="200266" y="289356"/>
                </a:lnTo>
                <a:lnTo>
                  <a:pt x="200266" y="305130"/>
                </a:lnTo>
                <a:lnTo>
                  <a:pt x="178587" y="343052"/>
                </a:lnTo>
                <a:lnTo>
                  <a:pt x="151295" y="354698"/>
                </a:lnTo>
                <a:lnTo>
                  <a:pt x="275657" y="354698"/>
                </a:lnTo>
                <a:lnTo>
                  <a:pt x="286628" y="312534"/>
                </a:lnTo>
                <a:lnTo>
                  <a:pt x="287388" y="297560"/>
                </a:lnTo>
                <a:lnTo>
                  <a:pt x="286692" y="283047"/>
                </a:lnTo>
                <a:lnTo>
                  <a:pt x="276263" y="241833"/>
                </a:lnTo>
                <a:lnTo>
                  <a:pt x="254647" y="205403"/>
                </a:lnTo>
                <a:lnTo>
                  <a:pt x="225577" y="178193"/>
                </a:lnTo>
                <a:lnTo>
                  <a:pt x="204228" y="165747"/>
                </a:lnTo>
                <a:lnTo>
                  <a:pt x="277698" y="0"/>
                </a:lnTo>
                <a:close/>
              </a:path>
            </a:pathLst>
          </a:custGeom>
          <a:solidFill>
            <a:srgbClr val="C73442"/>
          </a:solidFill>
        </p:spPr>
        <p:txBody>
          <a:bodyPr wrap="square" lIns="0" tIns="0" rIns="0" bIns="0" rtlCol="0"/>
          <a:lstStyle/>
          <a:p>
            <a:pPr defTabSz="634950"/>
            <a:endParaRPr sz="12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4" name="object 10"/>
          <p:cNvSpPr/>
          <p:nvPr userDrawn="1"/>
        </p:nvSpPr>
        <p:spPr>
          <a:xfrm>
            <a:off x="11511510" y="6013253"/>
            <a:ext cx="199761" cy="307798"/>
          </a:xfrm>
          <a:custGeom>
            <a:avLst/>
            <a:gdLst/>
            <a:ahLst/>
            <a:cxnLst/>
            <a:rect l="l" t="t" r="r" b="b"/>
            <a:pathLst>
              <a:path w="287655" h="443229">
                <a:moveTo>
                  <a:pt x="87121" y="296989"/>
                </a:moveTo>
                <a:lnTo>
                  <a:pt x="0" y="296989"/>
                </a:lnTo>
                <a:lnTo>
                  <a:pt x="673" y="311513"/>
                </a:lnTo>
                <a:lnTo>
                  <a:pt x="10769" y="352793"/>
                </a:lnTo>
                <a:lnTo>
                  <a:pt x="32347" y="389380"/>
                </a:lnTo>
                <a:lnTo>
                  <a:pt x="63768" y="418747"/>
                </a:lnTo>
                <a:lnTo>
                  <a:pt x="101633" y="436858"/>
                </a:lnTo>
                <a:lnTo>
                  <a:pt x="143408" y="442950"/>
                </a:lnTo>
                <a:lnTo>
                  <a:pt x="157744" y="442272"/>
                </a:lnTo>
                <a:lnTo>
                  <a:pt x="198666" y="432193"/>
                </a:lnTo>
                <a:lnTo>
                  <a:pt x="234859" y="410351"/>
                </a:lnTo>
                <a:lnTo>
                  <a:pt x="263074" y="378252"/>
                </a:lnTo>
                <a:lnTo>
                  <a:pt x="275657" y="354698"/>
                </a:lnTo>
                <a:lnTo>
                  <a:pt x="135521" y="354698"/>
                </a:lnTo>
                <a:lnTo>
                  <a:pt x="128206" y="353199"/>
                </a:lnTo>
                <a:lnTo>
                  <a:pt x="94627" y="326326"/>
                </a:lnTo>
                <a:lnTo>
                  <a:pt x="87165" y="305130"/>
                </a:lnTo>
                <a:lnTo>
                  <a:pt x="87121" y="296989"/>
                </a:lnTo>
                <a:close/>
              </a:path>
              <a:path w="287655" h="443229">
                <a:moveTo>
                  <a:pt x="277698" y="0"/>
                </a:moveTo>
                <a:lnTo>
                  <a:pt x="31965" y="0"/>
                </a:lnTo>
                <a:lnTo>
                  <a:pt x="31965" y="88252"/>
                </a:lnTo>
                <a:lnTo>
                  <a:pt x="143979" y="88252"/>
                </a:lnTo>
                <a:lnTo>
                  <a:pt x="76873" y="239775"/>
                </a:lnTo>
                <a:lnTo>
                  <a:pt x="151244" y="239775"/>
                </a:lnTo>
                <a:lnTo>
                  <a:pt x="158661" y="241287"/>
                </a:lnTo>
                <a:lnTo>
                  <a:pt x="192747" y="268046"/>
                </a:lnTo>
                <a:lnTo>
                  <a:pt x="200253" y="289356"/>
                </a:lnTo>
                <a:lnTo>
                  <a:pt x="200253" y="305130"/>
                </a:lnTo>
                <a:lnTo>
                  <a:pt x="178587" y="343052"/>
                </a:lnTo>
                <a:lnTo>
                  <a:pt x="151282" y="354698"/>
                </a:lnTo>
                <a:lnTo>
                  <a:pt x="275657" y="354698"/>
                </a:lnTo>
                <a:lnTo>
                  <a:pt x="286628" y="312534"/>
                </a:lnTo>
                <a:lnTo>
                  <a:pt x="287388" y="297560"/>
                </a:lnTo>
                <a:lnTo>
                  <a:pt x="286693" y="283047"/>
                </a:lnTo>
                <a:lnTo>
                  <a:pt x="276275" y="241833"/>
                </a:lnTo>
                <a:lnTo>
                  <a:pt x="254648" y="205403"/>
                </a:lnTo>
                <a:lnTo>
                  <a:pt x="225577" y="178193"/>
                </a:lnTo>
                <a:lnTo>
                  <a:pt x="204215" y="165747"/>
                </a:lnTo>
                <a:lnTo>
                  <a:pt x="277698" y="0"/>
                </a:lnTo>
                <a:close/>
              </a:path>
            </a:pathLst>
          </a:custGeom>
          <a:solidFill>
            <a:srgbClr val="C73442"/>
          </a:solidFill>
        </p:spPr>
        <p:txBody>
          <a:bodyPr wrap="square" lIns="0" tIns="0" rIns="0" bIns="0" rtlCol="0"/>
          <a:lstStyle/>
          <a:p>
            <a:pPr defTabSz="634950"/>
            <a:endParaRPr sz="12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5" name="object 11"/>
          <p:cNvSpPr/>
          <p:nvPr userDrawn="1"/>
        </p:nvSpPr>
        <p:spPr>
          <a:xfrm>
            <a:off x="11087695" y="6015417"/>
            <a:ext cx="204170" cy="303389"/>
          </a:xfrm>
          <a:custGeom>
            <a:avLst/>
            <a:gdLst/>
            <a:ahLst/>
            <a:cxnLst/>
            <a:rect l="l" t="t" r="r" b="b"/>
            <a:pathLst>
              <a:path w="294005" h="436879">
                <a:moveTo>
                  <a:pt x="162204" y="0"/>
                </a:moveTo>
                <a:lnTo>
                  <a:pt x="0" y="0"/>
                </a:lnTo>
                <a:lnTo>
                  <a:pt x="0" y="436714"/>
                </a:lnTo>
                <a:lnTo>
                  <a:pt x="87121" y="436714"/>
                </a:lnTo>
                <a:lnTo>
                  <a:pt x="87121" y="262483"/>
                </a:lnTo>
                <a:lnTo>
                  <a:pt x="162204" y="262483"/>
                </a:lnTo>
                <a:lnTo>
                  <a:pt x="201028" y="256756"/>
                </a:lnTo>
                <a:lnTo>
                  <a:pt x="235399" y="240210"/>
                </a:lnTo>
                <a:lnTo>
                  <a:pt x="270678" y="204927"/>
                </a:lnTo>
                <a:lnTo>
                  <a:pt x="284996" y="177063"/>
                </a:lnTo>
                <a:lnTo>
                  <a:pt x="87121" y="177063"/>
                </a:lnTo>
                <a:lnTo>
                  <a:pt x="87121" y="85420"/>
                </a:lnTo>
                <a:lnTo>
                  <a:pt x="284911" y="85420"/>
                </a:lnTo>
                <a:lnTo>
                  <a:pt x="282981" y="80327"/>
                </a:lnTo>
                <a:lnTo>
                  <a:pt x="254698" y="38747"/>
                </a:lnTo>
                <a:lnTo>
                  <a:pt x="213118" y="10464"/>
                </a:lnTo>
                <a:lnTo>
                  <a:pt x="175572" y="654"/>
                </a:lnTo>
                <a:lnTo>
                  <a:pt x="162204" y="0"/>
                </a:lnTo>
                <a:close/>
              </a:path>
              <a:path w="294005" h="436879">
                <a:moveTo>
                  <a:pt x="284911" y="85420"/>
                </a:moveTo>
                <a:lnTo>
                  <a:pt x="151460" y="85420"/>
                </a:lnTo>
                <a:lnTo>
                  <a:pt x="160475" y="86251"/>
                </a:lnTo>
                <a:lnTo>
                  <a:pt x="168854" y="88744"/>
                </a:lnTo>
                <a:lnTo>
                  <a:pt x="196433" y="122000"/>
                </a:lnTo>
                <a:lnTo>
                  <a:pt x="197281" y="131241"/>
                </a:lnTo>
                <a:lnTo>
                  <a:pt x="196433" y="140488"/>
                </a:lnTo>
                <a:lnTo>
                  <a:pt x="168854" y="173739"/>
                </a:lnTo>
                <a:lnTo>
                  <a:pt x="151460" y="177063"/>
                </a:lnTo>
                <a:lnTo>
                  <a:pt x="284996" y="177063"/>
                </a:lnTo>
                <a:lnTo>
                  <a:pt x="287563" y="170219"/>
                </a:lnTo>
                <a:lnTo>
                  <a:pt x="290833" y="157614"/>
                </a:lnTo>
                <a:lnTo>
                  <a:pt x="292793" y="144621"/>
                </a:lnTo>
                <a:lnTo>
                  <a:pt x="293446" y="131241"/>
                </a:lnTo>
                <a:lnTo>
                  <a:pt x="292793" y="117878"/>
                </a:lnTo>
                <a:lnTo>
                  <a:pt x="290833" y="104936"/>
                </a:lnTo>
                <a:lnTo>
                  <a:pt x="287563" y="92419"/>
                </a:lnTo>
                <a:lnTo>
                  <a:pt x="284911" y="854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634950"/>
            <a:endParaRPr sz="125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8365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6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1359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516207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27311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8498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859240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411753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320726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415717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solidFill>
          <a:srgbClr val="1F41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/>
        </p:nvGrpSpPr>
        <p:grpSpPr>
          <a:xfrm>
            <a:off x="4596384" y="1929384"/>
            <a:ext cx="2999232" cy="2999233"/>
            <a:chOff x="5815584" y="2615183"/>
            <a:chExt cx="2999232" cy="2999233"/>
          </a:xfrm>
        </p:grpSpPr>
        <p:sp>
          <p:nvSpPr>
            <p:cNvPr id="12" name="object 3"/>
            <p:cNvSpPr/>
            <p:nvPr userDrawn="1"/>
          </p:nvSpPr>
          <p:spPr>
            <a:xfrm>
              <a:off x="5815584" y="2615183"/>
              <a:ext cx="2999232" cy="2999233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3" name="object 4"/>
            <p:cNvSpPr/>
            <p:nvPr userDrawn="1"/>
          </p:nvSpPr>
          <p:spPr>
            <a:xfrm>
              <a:off x="6192863" y="5033555"/>
              <a:ext cx="2244662" cy="203582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object 5"/>
            <p:cNvSpPr/>
            <p:nvPr userDrawn="1"/>
          </p:nvSpPr>
          <p:spPr>
            <a:xfrm>
              <a:off x="6192863" y="2992475"/>
              <a:ext cx="2244662" cy="203581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6" name="object 6"/>
            <p:cNvGrpSpPr/>
            <p:nvPr userDrawn="1"/>
          </p:nvGrpSpPr>
          <p:grpSpPr>
            <a:xfrm>
              <a:off x="6928174" y="3562082"/>
              <a:ext cx="717183" cy="1105435"/>
              <a:chOff x="0" y="0"/>
              <a:chExt cx="717182" cy="1105433"/>
            </a:xfrm>
          </p:grpSpPr>
          <p:sp>
            <p:nvSpPr>
              <p:cNvPr id="23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3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7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5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4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2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7" y="21583"/>
                    </a:lnTo>
                    <a:lnTo>
                      <a:pt x="9425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1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7" name="object 7"/>
            <p:cNvGrpSpPr/>
            <p:nvPr userDrawn="1"/>
          </p:nvGrpSpPr>
          <p:grpSpPr>
            <a:xfrm>
              <a:off x="7718148" y="3562082"/>
              <a:ext cx="717182" cy="1105434"/>
              <a:chOff x="0" y="0"/>
              <a:chExt cx="717181" cy="1105432"/>
            </a:xfrm>
          </p:grpSpPr>
          <p:sp>
            <p:nvSpPr>
              <p:cNvPr id="21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2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6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4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2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1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6" y="21583"/>
                    </a:lnTo>
                    <a:lnTo>
                      <a:pt x="9424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2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8" name="object 8"/>
            <p:cNvGrpSpPr/>
            <p:nvPr userDrawn="1"/>
          </p:nvGrpSpPr>
          <p:grpSpPr>
            <a:xfrm>
              <a:off x="6195071" y="3569853"/>
              <a:ext cx="732335" cy="1089903"/>
              <a:chOff x="0" y="0"/>
              <a:chExt cx="732334" cy="1089902"/>
            </a:xfrm>
          </p:grpSpPr>
          <p:sp>
            <p:nvSpPr>
              <p:cNvPr id="19" name="Shape"/>
              <p:cNvSpPr/>
              <p:nvPr/>
            </p:nvSpPr>
            <p:spPr>
              <a:xfrm>
                <a:off x="0" y="0"/>
                <a:ext cx="711249" cy="10899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3"/>
                    </a:lnTo>
                    <a:lnTo>
                      <a:pt x="12294" y="12983"/>
                    </a:lnTo>
                    <a:lnTo>
                      <a:pt x="14287" y="12857"/>
                    </a:lnTo>
                    <a:lnTo>
                      <a:pt x="16153" y="12479"/>
                    </a:lnTo>
                    <a:lnTo>
                      <a:pt x="17841" y="11881"/>
                    </a:lnTo>
                    <a:lnTo>
                      <a:pt x="19304" y="11094"/>
                    </a:lnTo>
                    <a:lnTo>
                      <a:pt x="20515" y="10136"/>
                    </a:lnTo>
                    <a:lnTo>
                      <a:pt x="21447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3" y="4225"/>
                    </a:lnTo>
                    <a:lnTo>
                      <a:pt x="21447" y="3973"/>
                    </a:lnTo>
                    <a:lnTo>
                      <a:pt x="20515" y="2872"/>
                    </a:lnTo>
                    <a:lnTo>
                      <a:pt x="19304" y="1917"/>
                    </a:lnTo>
                    <a:lnTo>
                      <a:pt x="17841" y="1126"/>
                    </a:lnTo>
                    <a:lnTo>
                      <a:pt x="16153" y="518"/>
                    </a:lnTo>
                    <a:lnTo>
                      <a:pt x="14287" y="130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0" name="Shape"/>
              <p:cNvSpPr/>
              <p:nvPr/>
            </p:nvSpPr>
            <p:spPr>
              <a:xfrm>
                <a:off x="377991" y="213181"/>
                <a:ext cx="354343" cy="22871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1" y="0"/>
                    </a:moveTo>
                    <a:lnTo>
                      <a:pt x="0" y="0"/>
                    </a:lnTo>
                    <a:lnTo>
                      <a:pt x="1371" y="196"/>
                    </a:lnTo>
                    <a:lnTo>
                      <a:pt x="2646" y="784"/>
                    </a:lnTo>
                    <a:lnTo>
                      <a:pt x="4905" y="3134"/>
                    </a:lnTo>
                    <a:lnTo>
                      <a:pt x="6454" y="6618"/>
                    </a:lnTo>
                    <a:lnTo>
                      <a:pt x="6971" y="10799"/>
                    </a:lnTo>
                    <a:lnTo>
                      <a:pt x="6841" y="12979"/>
                    </a:lnTo>
                    <a:lnTo>
                      <a:pt x="5809" y="16812"/>
                    </a:lnTo>
                    <a:lnTo>
                      <a:pt x="3824" y="19838"/>
                    </a:lnTo>
                    <a:lnTo>
                      <a:pt x="1371" y="21404"/>
                    </a:lnTo>
                    <a:lnTo>
                      <a:pt x="0" y="21600"/>
                    </a:lnTo>
                    <a:lnTo>
                      <a:pt x="20315" y="21600"/>
                    </a:lnTo>
                    <a:lnTo>
                      <a:pt x="20705" y="19988"/>
                    </a:lnTo>
                    <a:lnTo>
                      <a:pt x="21202" y="17016"/>
                    </a:lnTo>
                    <a:lnTo>
                      <a:pt x="21501" y="13954"/>
                    </a:lnTo>
                    <a:lnTo>
                      <a:pt x="21600" y="10799"/>
                    </a:lnTo>
                    <a:lnTo>
                      <a:pt x="21501" y="7650"/>
                    </a:lnTo>
                    <a:lnTo>
                      <a:pt x="21202" y="4600"/>
                    </a:lnTo>
                    <a:lnTo>
                      <a:pt x="20705" y="1651"/>
                    </a:lnTo>
                    <a:lnTo>
                      <a:pt x="20301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706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56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1856083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cap="all" spc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26493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0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cap="all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TITLE IN TITLE CASE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10028055" y="5402272"/>
            <a:ext cx="1442366" cy="1442363"/>
            <a:chOff x="5815584" y="2615183"/>
            <a:chExt cx="2999232" cy="2999233"/>
          </a:xfrm>
        </p:grpSpPr>
        <p:sp>
          <p:nvSpPr>
            <p:cNvPr id="17" name="object 3"/>
            <p:cNvSpPr/>
            <p:nvPr userDrawn="1"/>
          </p:nvSpPr>
          <p:spPr>
            <a:xfrm>
              <a:off x="5815584" y="2615183"/>
              <a:ext cx="2999232" cy="2999233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pPr hangingPunct="0"/>
              <a:endParaRPr kern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9" name="object 4"/>
            <p:cNvSpPr/>
            <p:nvPr userDrawn="1"/>
          </p:nvSpPr>
          <p:spPr>
            <a:xfrm>
              <a:off x="6192863" y="5033555"/>
              <a:ext cx="2244662" cy="203582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pPr hangingPunct="0"/>
              <a:endParaRPr kern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" name="object 5"/>
            <p:cNvSpPr/>
            <p:nvPr userDrawn="1"/>
          </p:nvSpPr>
          <p:spPr>
            <a:xfrm>
              <a:off x="6192863" y="2992475"/>
              <a:ext cx="2244662" cy="203581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pPr hangingPunct="0"/>
              <a:endParaRPr kern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24" name="object 6"/>
            <p:cNvGrpSpPr/>
            <p:nvPr userDrawn="1"/>
          </p:nvGrpSpPr>
          <p:grpSpPr>
            <a:xfrm>
              <a:off x="6928174" y="3562082"/>
              <a:ext cx="717183" cy="1105435"/>
              <a:chOff x="0" y="0"/>
              <a:chExt cx="717182" cy="1105433"/>
            </a:xfrm>
          </p:grpSpPr>
          <p:sp>
            <p:nvSpPr>
              <p:cNvPr id="33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3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7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5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34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2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7" y="21583"/>
                    </a:lnTo>
                    <a:lnTo>
                      <a:pt x="9425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1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5" name="object 7"/>
            <p:cNvGrpSpPr/>
            <p:nvPr userDrawn="1"/>
          </p:nvGrpSpPr>
          <p:grpSpPr>
            <a:xfrm>
              <a:off x="7718148" y="3562082"/>
              <a:ext cx="717182" cy="1105434"/>
              <a:chOff x="0" y="0"/>
              <a:chExt cx="717181" cy="1105432"/>
            </a:xfrm>
          </p:grpSpPr>
          <p:sp>
            <p:nvSpPr>
              <p:cNvPr id="31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2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6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4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32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1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6" y="21583"/>
                    </a:lnTo>
                    <a:lnTo>
                      <a:pt x="9424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2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8" name="object 8"/>
            <p:cNvGrpSpPr/>
            <p:nvPr userDrawn="1"/>
          </p:nvGrpSpPr>
          <p:grpSpPr>
            <a:xfrm>
              <a:off x="6195071" y="3569853"/>
              <a:ext cx="732335" cy="1089903"/>
              <a:chOff x="0" y="0"/>
              <a:chExt cx="732334" cy="1089902"/>
            </a:xfrm>
          </p:grpSpPr>
          <p:sp>
            <p:nvSpPr>
              <p:cNvPr id="29" name="Shape"/>
              <p:cNvSpPr/>
              <p:nvPr/>
            </p:nvSpPr>
            <p:spPr>
              <a:xfrm>
                <a:off x="0" y="0"/>
                <a:ext cx="711249" cy="10899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3"/>
                    </a:lnTo>
                    <a:lnTo>
                      <a:pt x="12294" y="12983"/>
                    </a:lnTo>
                    <a:lnTo>
                      <a:pt x="14287" y="12857"/>
                    </a:lnTo>
                    <a:lnTo>
                      <a:pt x="16153" y="12479"/>
                    </a:lnTo>
                    <a:lnTo>
                      <a:pt x="17841" y="11881"/>
                    </a:lnTo>
                    <a:lnTo>
                      <a:pt x="19304" y="11094"/>
                    </a:lnTo>
                    <a:lnTo>
                      <a:pt x="20515" y="10136"/>
                    </a:lnTo>
                    <a:lnTo>
                      <a:pt x="21447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3" y="4225"/>
                    </a:lnTo>
                    <a:lnTo>
                      <a:pt x="21447" y="3973"/>
                    </a:lnTo>
                    <a:lnTo>
                      <a:pt x="20515" y="2872"/>
                    </a:lnTo>
                    <a:lnTo>
                      <a:pt x="19304" y="1917"/>
                    </a:lnTo>
                    <a:lnTo>
                      <a:pt x="17841" y="1126"/>
                    </a:lnTo>
                    <a:lnTo>
                      <a:pt x="16153" y="518"/>
                    </a:lnTo>
                    <a:lnTo>
                      <a:pt x="14287" y="130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30" name="Shape"/>
              <p:cNvSpPr/>
              <p:nvPr/>
            </p:nvSpPr>
            <p:spPr>
              <a:xfrm>
                <a:off x="377991" y="213181"/>
                <a:ext cx="354343" cy="22871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1" y="0"/>
                    </a:moveTo>
                    <a:lnTo>
                      <a:pt x="0" y="0"/>
                    </a:lnTo>
                    <a:lnTo>
                      <a:pt x="1371" y="196"/>
                    </a:lnTo>
                    <a:lnTo>
                      <a:pt x="2646" y="784"/>
                    </a:lnTo>
                    <a:lnTo>
                      <a:pt x="4905" y="3134"/>
                    </a:lnTo>
                    <a:lnTo>
                      <a:pt x="6454" y="6618"/>
                    </a:lnTo>
                    <a:lnTo>
                      <a:pt x="6971" y="10799"/>
                    </a:lnTo>
                    <a:lnTo>
                      <a:pt x="6841" y="12979"/>
                    </a:lnTo>
                    <a:lnTo>
                      <a:pt x="5809" y="16812"/>
                    </a:lnTo>
                    <a:lnTo>
                      <a:pt x="3824" y="19838"/>
                    </a:lnTo>
                    <a:lnTo>
                      <a:pt x="1371" y="21404"/>
                    </a:lnTo>
                    <a:lnTo>
                      <a:pt x="0" y="21600"/>
                    </a:lnTo>
                    <a:lnTo>
                      <a:pt x="20315" y="21600"/>
                    </a:lnTo>
                    <a:lnTo>
                      <a:pt x="20705" y="19988"/>
                    </a:lnTo>
                    <a:lnTo>
                      <a:pt x="21202" y="17016"/>
                    </a:lnTo>
                    <a:lnTo>
                      <a:pt x="21501" y="13954"/>
                    </a:lnTo>
                    <a:lnTo>
                      <a:pt x="21600" y="10799"/>
                    </a:lnTo>
                    <a:lnTo>
                      <a:pt x="21501" y="7650"/>
                    </a:lnTo>
                    <a:lnTo>
                      <a:pt x="21202" y="4600"/>
                    </a:lnTo>
                    <a:lnTo>
                      <a:pt x="20705" y="1651"/>
                    </a:lnTo>
                    <a:lnTo>
                      <a:pt x="20301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9314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 baseline="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36566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4416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 cap="all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107723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2337864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3653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0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1795578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0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62809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0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2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25481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0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1095714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 baseline="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9487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0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274105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0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222578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1326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8856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7395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1" b="6866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97006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75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6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664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4857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6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7736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2639995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383131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311827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37606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3903646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820307"/>
            <a:ext cx="3345100" cy="12770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000" b="0" cap="all" baseline="0">
                <a:solidFill>
                  <a:schemeClr val="tx1"/>
                </a:solidFill>
                <a:latin typeface="+mj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4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2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6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8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21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29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30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2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7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8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3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25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6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70828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4025863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1492286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0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1198854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solidFill>
          <a:srgbClr val="1F41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 userDrawn="1"/>
        </p:nvGrpSpPr>
        <p:grpSpPr>
          <a:xfrm>
            <a:off x="4596384" y="1929384"/>
            <a:ext cx="2999232" cy="2999233"/>
            <a:chOff x="5815584" y="2615183"/>
            <a:chExt cx="2999232" cy="2999233"/>
          </a:xfrm>
        </p:grpSpPr>
        <p:sp>
          <p:nvSpPr>
            <p:cNvPr id="11" name="object 3"/>
            <p:cNvSpPr/>
            <p:nvPr userDrawn="1"/>
          </p:nvSpPr>
          <p:spPr>
            <a:xfrm>
              <a:off x="5815584" y="2615183"/>
              <a:ext cx="2999232" cy="2999233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2" name="object 4"/>
            <p:cNvSpPr/>
            <p:nvPr userDrawn="1"/>
          </p:nvSpPr>
          <p:spPr>
            <a:xfrm>
              <a:off x="6192863" y="5033555"/>
              <a:ext cx="2244662" cy="203582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3" name="object 5"/>
            <p:cNvSpPr/>
            <p:nvPr userDrawn="1"/>
          </p:nvSpPr>
          <p:spPr>
            <a:xfrm>
              <a:off x="6192863" y="2992475"/>
              <a:ext cx="2244662" cy="203581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" name="object 6"/>
            <p:cNvGrpSpPr/>
            <p:nvPr userDrawn="1"/>
          </p:nvGrpSpPr>
          <p:grpSpPr>
            <a:xfrm>
              <a:off x="6928174" y="3562082"/>
              <a:ext cx="717183" cy="1105435"/>
              <a:chOff x="0" y="0"/>
              <a:chExt cx="717182" cy="1105433"/>
            </a:xfrm>
          </p:grpSpPr>
          <p:sp>
            <p:nvSpPr>
              <p:cNvPr id="22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3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7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5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3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2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7" y="21583"/>
                    </a:lnTo>
                    <a:lnTo>
                      <a:pt x="9425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1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6" name="object 7"/>
            <p:cNvGrpSpPr/>
            <p:nvPr userDrawn="1"/>
          </p:nvGrpSpPr>
          <p:grpSpPr>
            <a:xfrm>
              <a:off x="7718148" y="3562082"/>
              <a:ext cx="717182" cy="1105434"/>
              <a:chOff x="0" y="0"/>
              <a:chExt cx="717181" cy="1105432"/>
            </a:xfrm>
          </p:grpSpPr>
          <p:sp>
            <p:nvSpPr>
              <p:cNvPr id="20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2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6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4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1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1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6" y="21583"/>
                    </a:lnTo>
                    <a:lnTo>
                      <a:pt x="9424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2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7" name="object 8"/>
            <p:cNvGrpSpPr/>
            <p:nvPr userDrawn="1"/>
          </p:nvGrpSpPr>
          <p:grpSpPr>
            <a:xfrm>
              <a:off x="6195071" y="3569853"/>
              <a:ext cx="732335" cy="1089903"/>
              <a:chOff x="0" y="0"/>
              <a:chExt cx="732334" cy="1089902"/>
            </a:xfrm>
          </p:grpSpPr>
          <p:sp>
            <p:nvSpPr>
              <p:cNvPr id="18" name="Shape"/>
              <p:cNvSpPr/>
              <p:nvPr/>
            </p:nvSpPr>
            <p:spPr>
              <a:xfrm>
                <a:off x="0" y="0"/>
                <a:ext cx="711249" cy="10899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3"/>
                    </a:lnTo>
                    <a:lnTo>
                      <a:pt x="12294" y="12983"/>
                    </a:lnTo>
                    <a:lnTo>
                      <a:pt x="14287" y="12857"/>
                    </a:lnTo>
                    <a:lnTo>
                      <a:pt x="16153" y="12479"/>
                    </a:lnTo>
                    <a:lnTo>
                      <a:pt x="17841" y="11881"/>
                    </a:lnTo>
                    <a:lnTo>
                      <a:pt x="19304" y="11094"/>
                    </a:lnTo>
                    <a:lnTo>
                      <a:pt x="20515" y="10136"/>
                    </a:lnTo>
                    <a:lnTo>
                      <a:pt x="21447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3" y="4225"/>
                    </a:lnTo>
                    <a:lnTo>
                      <a:pt x="21447" y="3973"/>
                    </a:lnTo>
                    <a:lnTo>
                      <a:pt x="20515" y="2872"/>
                    </a:lnTo>
                    <a:lnTo>
                      <a:pt x="19304" y="1917"/>
                    </a:lnTo>
                    <a:lnTo>
                      <a:pt x="17841" y="1126"/>
                    </a:lnTo>
                    <a:lnTo>
                      <a:pt x="16153" y="518"/>
                    </a:lnTo>
                    <a:lnTo>
                      <a:pt x="14287" y="130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9" name="Shape"/>
              <p:cNvSpPr/>
              <p:nvPr/>
            </p:nvSpPr>
            <p:spPr>
              <a:xfrm>
                <a:off x="377991" y="213181"/>
                <a:ext cx="354343" cy="22871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1" y="0"/>
                    </a:moveTo>
                    <a:lnTo>
                      <a:pt x="0" y="0"/>
                    </a:lnTo>
                    <a:lnTo>
                      <a:pt x="1371" y="196"/>
                    </a:lnTo>
                    <a:lnTo>
                      <a:pt x="2646" y="784"/>
                    </a:lnTo>
                    <a:lnTo>
                      <a:pt x="4905" y="3134"/>
                    </a:lnTo>
                    <a:lnTo>
                      <a:pt x="6454" y="6618"/>
                    </a:lnTo>
                    <a:lnTo>
                      <a:pt x="6971" y="10799"/>
                    </a:lnTo>
                    <a:lnTo>
                      <a:pt x="6841" y="12979"/>
                    </a:lnTo>
                    <a:lnTo>
                      <a:pt x="5809" y="16812"/>
                    </a:lnTo>
                    <a:lnTo>
                      <a:pt x="3824" y="19838"/>
                    </a:lnTo>
                    <a:lnTo>
                      <a:pt x="1371" y="21404"/>
                    </a:lnTo>
                    <a:lnTo>
                      <a:pt x="0" y="21600"/>
                    </a:lnTo>
                    <a:lnTo>
                      <a:pt x="20315" y="21600"/>
                    </a:lnTo>
                    <a:lnTo>
                      <a:pt x="20705" y="19988"/>
                    </a:lnTo>
                    <a:lnTo>
                      <a:pt x="21202" y="17016"/>
                    </a:lnTo>
                    <a:lnTo>
                      <a:pt x="21501" y="13954"/>
                    </a:lnTo>
                    <a:lnTo>
                      <a:pt x="21600" y="10799"/>
                    </a:lnTo>
                    <a:lnTo>
                      <a:pt x="21501" y="7650"/>
                    </a:lnTo>
                    <a:lnTo>
                      <a:pt x="21202" y="4600"/>
                    </a:lnTo>
                    <a:lnTo>
                      <a:pt x="20705" y="1651"/>
                    </a:lnTo>
                    <a:lnTo>
                      <a:pt x="20301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6843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56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205771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139634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51129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647771" y="1115416"/>
            <a:ext cx="341253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cap="all" baseline="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3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6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17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8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9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0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1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2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23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4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2649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1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2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22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3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6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0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1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7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18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9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33989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cap="all" baseline="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1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2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22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3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6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0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1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7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18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9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8940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0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2017406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cap="all" baseline="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1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2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8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9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26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7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0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4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5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1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22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3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731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5112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647772" y="1115416"/>
            <a:ext cx="341253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cap="all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3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6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23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4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7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1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2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8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19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0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53448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7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9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1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2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19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0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3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17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8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4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15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4426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cap="all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8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0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1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2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19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0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3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17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8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4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15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49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0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9999" y="3262145"/>
            <a:ext cx="1494891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cap="all" baseline="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2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3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22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4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6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0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1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7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18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9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0476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820308"/>
            <a:ext cx="3458312" cy="12770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000" cap="all" baseline="0">
                <a:solidFill>
                  <a:schemeClr val="tx1"/>
                </a:solidFill>
                <a:latin typeface="+mj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1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2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26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7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6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3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5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8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21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2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39425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1D87BF-64F1-47EC-8E0D-0B36E400DC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3E6C4E-B4EC-4EEE-9275-9E5AAD18C0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D1400A-8513-4DFD-A383-63ED8927A7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28A58-2FA4-4975-8163-90B10C6A1BEA}" type="datetimeFigureOut">
              <a:rPr lang="en-US" smtClean="0"/>
              <a:t>9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1D8687-7719-4898-8137-32E5726B4F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086980-018B-4DF1-BB95-9D3C3776E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746CFE-2A04-4DEF-BFA8-1E638004B5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1072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04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bg>
      <p:bgPr>
        <a:solidFill>
          <a:schemeClr val="lt1"/>
        </a:solidFill>
        <a:effectLst/>
      </p:bgPr>
    </p:bg>
    <p:spTree>
      <p:nvGrpSpPr>
        <p:cNvPr id="1" name="Shape 10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0" name="Google Shape;1010;p109"/>
          <p:cNvSpPr txBox="1">
            <a:spLocks noGrp="1"/>
          </p:cNvSpPr>
          <p:nvPr>
            <p:ph type="sldNum" idx="12"/>
          </p:nvPr>
        </p:nvSpPr>
        <p:spPr>
          <a:xfrm>
            <a:off x="10703310" y="6378652"/>
            <a:ext cx="119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12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lvl="1" indent="0" algn="r" rtl="0">
              <a:spcBef>
                <a:spcPts val="0"/>
              </a:spcBef>
              <a:buNone/>
              <a:defRPr sz="12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lvl="2" indent="0" algn="r" rtl="0">
              <a:spcBef>
                <a:spcPts val="0"/>
              </a:spcBef>
              <a:buNone/>
              <a:defRPr sz="12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lvl="3" indent="0" algn="r" rtl="0">
              <a:spcBef>
                <a:spcPts val="0"/>
              </a:spcBef>
              <a:buNone/>
              <a:defRPr sz="12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lvl="4" indent="0" algn="r" rtl="0">
              <a:spcBef>
                <a:spcPts val="0"/>
              </a:spcBef>
              <a:buNone/>
              <a:defRPr sz="12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lvl="5" indent="0" algn="r" rtl="0">
              <a:spcBef>
                <a:spcPts val="0"/>
              </a:spcBef>
              <a:buNone/>
              <a:defRPr sz="12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lvl="6" indent="0" algn="r" rtl="0">
              <a:spcBef>
                <a:spcPts val="0"/>
              </a:spcBef>
              <a:buNone/>
              <a:defRPr sz="12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lvl="7" indent="0" algn="r" rtl="0">
              <a:spcBef>
                <a:spcPts val="0"/>
              </a:spcBef>
              <a:buNone/>
              <a:defRPr sz="12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lvl="8" indent="0" algn="r" rtl="0">
              <a:spcBef>
                <a:spcPts val="0"/>
              </a:spcBef>
              <a:buNone/>
              <a:defRPr sz="12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11" name="Google Shape;1011;p109"/>
          <p:cNvSpPr txBox="1">
            <a:spLocks noGrp="1"/>
          </p:cNvSpPr>
          <p:nvPr>
            <p:ph type="body" idx="1"/>
          </p:nvPr>
        </p:nvSpPr>
        <p:spPr>
          <a:xfrm>
            <a:off x="838200" y="1652695"/>
            <a:ext cx="8316900" cy="29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 b="1" i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492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/>
            </a:lvl2pPr>
            <a:lvl3pPr marL="1371600" lvl="2" indent="-3492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/>
            </a:lvl3pPr>
            <a:lvl4pPr marL="1828800" lvl="3" indent="-3492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/>
            </a:lvl4pPr>
            <a:lvl5pPr marL="2286000" lvl="4" indent="-3492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/>
            </a:lvl5pPr>
            <a:lvl6pPr marL="2743200" lvl="5" indent="-3492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/>
            </a:lvl6pPr>
            <a:lvl7pPr marL="3200400" lvl="6" indent="-3492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/>
            </a:lvl7pPr>
            <a:lvl8pPr marL="3657600" lvl="7" indent="-3492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/>
            </a:lvl8pPr>
            <a:lvl9pPr marL="4114800" lvl="8" indent="-3492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/>
            </a:lvl9pPr>
          </a:lstStyle>
          <a:p>
            <a:endParaRPr/>
          </a:p>
        </p:txBody>
      </p:sp>
      <p:pic>
        <p:nvPicPr>
          <p:cNvPr id="1012" name="Google Shape;1012;p1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622793" y="431072"/>
            <a:ext cx="1050630" cy="670614"/>
          </a:xfrm>
          <a:prstGeom prst="rect">
            <a:avLst/>
          </a:prstGeom>
          <a:noFill/>
          <a:ln>
            <a:noFill/>
          </a:ln>
        </p:spPr>
      </p:pic>
      <p:sp>
        <p:nvSpPr>
          <p:cNvPr id="1013" name="Google Shape;1013;p109"/>
          <p:cNvSpPr txBox="1">
            <a:spLocks noGrp="1"/>
          </p:cNvSpPr>
          <p:nvPr>
            <p:ph type="title"/>
          </p:nvPr>
        </p:nvSpPr>
        <p:spPr>
          <a:xfrm>
            <a:off x="838201" y="910472"/>
            <a:ext cx="83169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Open Sans"/>
              <a:buNone/>
              <a:defRPr sz="3100" b="1" i="0" u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38872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BE8275-54C1-4ED5-B41E-188FAC361D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F7E44A-FEEA-45D6-B55B-32462D460A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BA4AFB-3E1D-4F93-B3A6-74EB588E99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28A58-2FA4-4975-8163-90B10C6A1BEA}" type="datetimeFigureOut">
              <a:rPr lang="en-US" smtClean="0"/>
              <a:t>9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3929C9-BBCD-4FD6-B820-EFCC450FA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90E357-46ED-4DF7-9125-20FA40BBB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746CFE-2A04-4DEF-BFA8-1E638004B5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2562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0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3529338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0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401 - Business IT Cluster Discussion v8.pptx</a:t>
            </a:r>
          </a:p>
        </p:txBody>
      </p:sp>
    </p:spTree>
    <p:extLst>
      <p:ext uri="{BB962C8B-B14F-4D97-AF65-F5344CB8AC3E}">
        <p14:creationId xmlns:p14="http://schemas.microsoft.com/office/powerpoint/2010/main" val="730212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526624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 cap="all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svg"/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12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C07DD504-2E55-725C-A45D-0049D29E2E66}"/>
              </a:ext>
            </a:extLst>
          </p:cNvPr>
          <p:cNvGrpSpPr/>
          <p:nvPr/>
        </p:nvGrpSpPr>
        <p:grpSpPr>
          <a:xfrm>
            <a:off x="1558834" y="622800"/>
            <a:ext cx="10004515" cy="5743165"/>
            <a:chOff x="1431937" y="1262742"/>
            <a:chExt cx="9022080" cy="510322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B504474-5084-6971-1944-5374EC0AF184}"/>
                </a:ext>
              </a:extLst>
            </p:cNvPr>
            <p:cNvSpPr/>
            <p:nvPr/>
          </p:nvSpPr>
          <p:spPr>
            <a:xfrm>
              <a:off x="1431937" y="1262742"/>
              <a:ext cx="2255520" cy="51032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4"/>
              </a:solidFill>
              <a:prstDash val="sysDot"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62000" rtlCol="0" anchor="ctr"/>
            <a:lstStyle/>
            <a:p>
              <a:pPr algn="ctr" hangingPunct="0"/>
              <a:endParaRPr lang="en-US" sz="15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A3F29F9-A37D-2CF8-6D6A-BF42E6DD74E4}"/>
                </a:ext>
              </a:extLst>
            </p:cNvPr>
            <p:cNvSpPr/>
            <p:nvPr/>
          </p:nvSpPr>
          <p:spPr>
            <a:xfrm>
              <a:off x="3687457" y="1262742"/>
              <a:ext cx="2255520" cy="51032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4"/>
              </a:solidFill>
              <a:prstDash val="sysDot"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62000" rtlCol="0" anchor="ctr"/>
            <a:lstStyle/>
            <a:p>
              <a:pPr algn="ctr" hangingPunct="0"/>
              <a:endParaRPr lang="en-US" sz="15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7362631-9226-C618-7FA4-607DD0F009EB}"/>
                </a:ext>
              </a:extLst>
            </p:cNvPr>
            <p:cNvSpPr/>
            <p:nvPr/>
          </p:nvSpPr>
          <p:spPr>
            <a:xfrm>
              <a:off x="5942977" y="1262742"/>
              <a:ext cx="2255520" cy="51032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4"/>
              </a:solidFill>
              <a:prstDash val="sysDot"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62000" rtlCol="0" anchor="ctr"/>
            <a:lstStyle/>
            <a:p>
              <a:pPr algn="ctr" hangingPunct="0"/>
              <a:endParaRPr lang="en-US" sz="15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3D74E5F-6D12-000B-DD7C-A2DD4B2F49F1}"/>
                </a:ext>
              </a:extLst>
            </p:cNvPr>
            <p:cNvSpPr/>
            <p:nvPr/>
          </p:nvSpPr>
          <p:spPr>
            <a:xfrm>
              <a:off x="8198497" y="1262742"/>
              <a:ext cx="2255520" cy="51032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4"/>
              </a:solidFill>
              <a:prstDash val="sysDot"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62000" rtlCol="0" anchor="ctr"/>
            <a:lstStyle/>
            <a:p>
              <a:pPr algn="ctr" hangingPunct="0"/>
              <a:endParaRPr lang="en-US" sz="15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422F1FD-7B5C-66AD-E24A-F52FCAD33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006" y="89049"/>
            <a:ext cx="10933350" cy="664797"/>
          </a:xfrm>
        </p:spPr>
        <p:txBody>
          <a:bodyPr/>
          <a:lstStyle/>
          <a:p>
            <a:r>
              <a:rPr lang="en-US" dirty="0"/>
              <a:t>Recs/</a:t>
            </a:r>
            <a:br>
              <a:rPr lang="en-US" dirty="0"/>
            </a:br>
            <a:r>
              <a:rPr lang="en-US" dirty="0"/>
              <a:t>CTA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8E71708-0214-C96C-A911-A20D1F3EF9F7}"/>
              </a:ext>
            </a:extLst>
          </p:cNvPr>
          <p:cNvSpPr txBox="1">
            <a:spLocks/>
          </p:cNvSpPr>
          <p:nvPr/>
        </p:nvSpPr>
        <p:spPr>
          <a:xfrm>
            <a:off x="2559810" y="5272262"/>
            <a:ext cx="5519473" cy="28522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9pPr>
          </a:lstStyle>
          <a:p>
            <a:pPr marL="228600" indent="-228600">
              <a:buFont typeface="+mj-lt"/>
              <a:buAutoNum type="arabicPeriod"/>
            </a:pPr>
            <a:endParaRPr lang="en-US" dirty="0"/>
          </a:p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972F0CF-6557-FEC5-1925-153354DD3C74}"/>
              </a:ext>
            </a:extLst>
          </p:cNvPr>
          <p:cNvSpPr txBox="1">
            <a:spLocks/>
          </p:cNvSpPr>
          <p:nvPr/>
        </p:nvSpPr>
        <p:spPr>
          <a:xfrm>
            <a:off x="1614816" y="727641"/>
            <a:ext cx="237371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2000" dirty="0"/>
              <a:t>K-8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AFE08DB-25F3-E179-D60D-934B852BB5BA}"/>
              </a:ext>
            </a:extLst>
          </p:cNvPr>
          <p:cNvSpPr txBox="1">
            <a:spLocks/>
          </p:cNvSpPr>
          <p:nvPr/>
        </p:nvSpPr>
        <p:spPr>
          <a:xfrm>
            <a:off x="4151306" y="727641"/>
            <a:ext cx="237371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2000" dirty="0"/>
              <a:t>High schoo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DE183A2-DBB9-4264-B07C-A863EB52E39E}"/>
              </a:ext>
            </a:extLst>
          </p:cNvPr>
          <p:cNvSpPr txBox="1">
            <a:spLocks/>
          </p:cNvSpPr>
          <p:nvPr/>
        </p:nvSpPr>
        <p:spPr>
          <a:xfrm>
            <a:off x="6632529" y="727641"/>
            <a:ext cx="237371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2000" dirty="0"/>
              <a:t>Colleg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04FB099-E2B8-3066-4661-C0C8BFA61D25}"/>
              </a:ext>
            </a:extLst>
          </p:cNvPr>
          <p:cNvSpPr txBox="1">
            <a:spLocks/>
          </p:cNvSpPr>
          <p:nvPr/>
        </p:nvSpPr>
        <p:spPr>
          <a:xfrm>
            <a:off x="9189639" y="727641"/>
            <a:ext cx="237371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2000" dirty="0"/>
              <a:t>Employmen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CEB8052-A7E1-3EE3-0524-C480A314242C}"/>
              </a:ext>
            </a:extLst>
          </p:cNvPr>
          <p:cNvSpPr txBox="1">
            <a:spLocks/>
          </p:cNvSpPr>
          <p:nvPr/>
        </p:nvSpPr>
        <p:spPr>
          <a:xfrm>
            <a:off x="209006" y="1379280"/>
            <a:ext cx="1163745" cy="7805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9pPr>
          </a:lstStyle>
          <a:p>
            <a:pPr>
              <a:buNone/>
            </a:pPr>
            <a:r>
              <a:rPr lang="en-US" i="1" dirty="0"/>
              <a:t>Strategy / Overview</a:t>
            </a:r>
          </a:p>
          <a:p>
            <a:pPr marL="228600" indent="-228600">
              <a:buAutoNum type="arabicPeriod"/>
            </a:pPr>
            <a:endParaRPr lang="en-US" i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DB084E-07EA-FE32-259F-23B7D19C8C16}"/>
              </a:ext>
            </a:extLst>
          </p:cNvPr>
          <p:cNvSpPr txBox="1"/>
          <p:nvPr/>
        </p:nvSpPr>
        <p:spPr>
          <a:xfrm>
            <a:off x="1558831" y="1051104"/>
            <a:ext cx="2501129" cy="83099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hangingPunct="0"/>
            <a:r>
              <a:rPr lang="en-US" sz="1200" i="1" dirty="0">
                <a:solidFill>
                  <a:srgbClr val="0070C0"/>
                </a:solidFill>
              </a:rPr>
              <a:t>Start early</a:t>
            </a:r>
            <a:r>
              <a:rPr lang="en-US" sz="1200" dirty="0">
                <a:solidFill>
                  <a:schemeClr val="tx1"/>
                </a:solidFill>
              </a:rPr>
              <a:t>. Quality math instruction and out-of-school enrichment opportunities will build the foundation for later success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997A452-35E6-8C14-4973-61AD5FB6BB16}"/>
              </a:ext>
            </a:extLst>
          </p:cNvPr>
          <p:cNvSpPr txBox="1"/>
          <p:nvPr/>
        </p:nvSpPr>
        <p:spPr>
          <a:xfrm>
            <a:off x="4059960" y="1051104"/>
            <a:ext cx="2501129" cy="10156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hangingPunct="0"/>
            <a:r>
              <a:rPr lang="en-US" sz="1200" i="1" dirty="0">
                <a:solidFill>
                  <a:srgbClr val="0070C0"/>
                </a:solidFill>
              </a:rPr>
              <a:t>Aim high</a:t>
            </a:r>
            <a:r>
              <a:rPr lang="en-US" sz="1200" dirty="0">
                <a:solidFill>
                  <a:schemeClr val="tx1"/>
                </a:solidFill>
              </a:rPr>
              <a:t>. Expand access to advanced STEM programs in high school, and complement with out-of-school enrichment opportunities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CF2B8AD-C5A0-D385-9995-AB9D1A795B89}"/>
              </a:ext>
            </a:extLst>
          </p:cNvPr>
          <p:cNvSpPr txBox="1"/>
          <p:nvPr/>
        </p:nvSpPr>
        <p:spPr>
          <a:xfrm>
            <a:off x="6561088" y="1051104"/>
            <a:ext cx="2501129" cy="138499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hangingPunct="0"/>
            <a:r>
              <a:rPr lang="en-US" sz="1200" i="1" dirty="0">
                <a:solidFill>
                  <a:srgbClr val="0070C0"/>
                </a:solidFill>
              </a:rPr>
              <a:t>Focus on education </a:t>
            </a:r>
            <a:r>
              <a:rPr lang="en-US" sz="1200" dirty="0">
                <a:solidFill>
                  <a:srgbClr val="0070C0"/>
                </a:solidFill>
              </a:rPr>
              <a:t>and</a:t>
            </a:r>
            <a:r>
              <a:rPr lang="en-US" sz="1200" i="1" dirty="0">
                <a:solidFill>
                  <a:srgbClr val="0070C0"/>
                </a:solidFill>
              </a:rPr>
              <a:t> employment</a:t>
            </a:r>
            <a:r>
              <a:rPr lang="en-US" sz="1200" dirty="0">
                <a:solidFill>
                  <a:schemeClr val="tx1"/>
                </a:solidFill>
              </a:rPr>
              <a:t>. Target support for underrepresented students to complete STEM degrees, and partner with companies for work-based learning experiences starting freshman year.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1341622-3556-6B3A-2FB1-2A712B73A757}"/>
              </a:ext>
            </a:extLst>
          </p:cNvPr>
          <p:cNvSpPr txBox="1"/>
          <p:nvPr/>
        </p:nvSpPr>
        <p:spPr>
          <a:xfrm>
            <a:off x="9062215" y="1051104"/>
            <a:ext cx="2501129" cy="10156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hangingPunct="0"/>
            <a:r>
              <a:rPr lang="en-US" sz="1200" i="1" dirty="0">
                <a:solidFill>
                  <a:srgbClr val="0070C0"/>
                </a:solidFill>
              </a:rPr>
              <a:t>Open the aperture</a:t>
            </a:r>
            <a:r>
              <a:rPr lang="en-US" sz="1200" dirty="0">
                <a:solidFill>
                  <a:schemeClr val="tx1"/>
                </a:solidFill>
              </a:rPr>
              <a:t>. Hire tech talent from a wider group of colleges and training providers—and increase the number of hires from those places. 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C1C1B96-EB0F-5517-A3CF-8896F9214B44}"/>
              </a:ext>
            </a:extLst>
          </p:cNvPr>
          <p:cNvSpPr txBox="1">
            <a:spLocks/>
          </p:cNvSpPr>
          <p:nvPr/>
        </p:nvSpPr>
        <p:spPr>
          <a:xfrm>
            <a:off x="130629" y="2903926"/>
            <a:ext cx="1483475" cy="12932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9pPr>
          </a:lstStyle>
          <a:p>
            <a:pPr>
              <a:buNone/>
            </a:pPr>
            <a:r>
              <a:rPr lang="en-US" i="1" dirty="0"/>
              <a:t>Specific recommendation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A03821F-5787-1E9E-5BD8-85E7A24BC0A4}"/>
              </a:ext>
            </a:extLst>
          </p:cNvPr>
          <p:cNvSpPr txBox="1"/>
          <p:nvPr/>
        </p:nvSpPr>
        <p:spPr>
          <a:xfrm>
            <a:off x="6541997" y="2452339"/>
            <a:ext cx="2483567" cy="156966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</a:rPr>
              <a:t>Implement student success programs and cash support to ensure low-income students complete STEM degree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</a:rPr>
              <a:t>Start work-based learning and mentorship freshman year, in partnership with companies</a:t>
            </a:r>
          </a:p>
          <a:p>
            <a:pPr marL="228600" indent="-228600">
              <a:buFont typeface="+mj-lt"/>
              <a:buAutoNum type="arabicPeriod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3AF2BA8-7034-56B8-08CB-4C90A1175BFA}"/>
              </a:ext>
            </a:extLst>
          </p:cNvPr>
          <p:cNvSpPr txBox="1"/>
          <p:nvPr/>
        </p:nvSpPr>
        <p:spPr>
          <a:xfrm>
            <a:off x="9080255" y="2452339"/>
            <a:ext cx="2465050" cy="138499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1"/>
                </a:solidFill>
              </a:defRPr>
            </a:lvl1pPr>
          </a:lstStyle>
          <a:p>
            <a:pPr marL="228600" indent="-228600">
              <a:buFont typeface="+mj-lt"/>
              <a:buAutoNum type="arabicPeriod"/>
            </a:pPr>
            <a:r>
              <a:rPr lang="en-US" dirty="0"/>
              <a:t>Add diverse sourcing partners and increase the volume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Ensure diverse candidate slates and diverse interview panel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Build inclusive cultures to ensure post-hire success 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92F3A85-29EB-81B6-F49D-DCDDD8BD5F4D}"/>
              </a:ext>
            </a:extLst>
          </p:cNvPr>
          <p:cNvSpPr txBox="1">
            <a:spLocks/>
          </p:cNvSpPr>
          <p:nvPr/>
        </p:nvSpPr>
        <p:spPr>
          <a:xfrm>
            <a:off x="209006" y="4591029"/>
            <a:ext cx="1349825" cy="7771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9pPr>
          </a:lstStyle>
          <a:p>
            <a:pPr>
              <a:buNone/>
            </a:pPr>
            <a:r>
              <a:rPr lang="en-US" i="1" dirty="0"/>
              <a:t>Select Organizations to Support </a:t>
            </a:r>
          </a:p>
          <a:p>
            <a:pPr marL="228600" indent="-228600">
              <a:buAutoNum type="arabicPeriod"/>
            </a:pPr>
            <a:endParaRPr lang="en-US" i="1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E4CE47D-9B4C-2F16-264B-BD8F19C562F8}"/>
              </a:ext>
            </a:extLst>
          </p:cNvPr>
          <p:cNvSpPr txBox="1"/>
          <p:nvPr/>
        </p:nvSpPr>
        <p:spPr>
          <a:xfrm>
            <a:off x="1544448" y="4873661"/>
            <a:ext cx="2556399" cy="6463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74625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LACEHOLDER</a:t>
            </a:r>
          </a:p>
          <a:p>
            <a:pPr marL="174625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LACEHOLDER</a:t>
            </a:r>
          </a:p>
          <a:p>
            <a:pPr marL="174625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LACEHOLDER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A653288-08DD-74FE-59C7-E11293078FF3}"/>
              </a:ext>
            </a:extLst>
          </p:cNvPr>
          <p:cNvSpPr txBox="1"/>
          <p:nvPr/>
        </p:nvSpPr>
        <p:spPr>
          <a:xfrm>
            <a:off x="4101085" y="4874180"/>
            <a:ext cx="2556399" cy="120032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74625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roject Exploration</a:t>
            </a:r>
          </a:p>
          <a:p>
            <a:pPr marL="174625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ISTC</a:t>
            </a:r>
          </a:p>
          <a:p>
            <a:pPr marL="174625" indent="-174625" hangingPunct="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1"/>
                </a:solidFill>
              </a:rPr>
              <a:t>CodeNation</a:t>
            </a:r>
            <a:endParaRPr lang="en-US" sz="1200" dirty="0">
              <a:solidFill>
                <a:schemeClr val="tx1"/>
              </a:solidFill>
            </a:endParaRPr>
          </a:p>
          <a:p>
            <a:pPr marL="174625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Microsoft TEALS</a:t>
            </a:r>
          </a:p>
          <a:p>
            <a:pPr marL="174625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roject </a:t>
            </a:r>
            <a:r>
              <a:rPr lang="en-US" sz="1200" dirty="0" err="1">
                <a:solidFill>
                  <a:schemeClr val="tx1"/>
                </a:solidFill>
              </a:rPr>
              <a:t>Syncere</a:t>
            </a:r>
            <a:endParaRPr lang="en-US" sz="1200" dirty="0">
              <a:solidFill>
                <a:schemeClr val="tx1"/>
              </a:solidFill>
            </a:endParaRPr>
          </a:p>
          <a:p>
            <a:pPr marL="174625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CLX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30BFE70-393A-0394-5133-C93563F93013}"/>
              </a:ext>
            </a:extLst>
          </p:cNvPr>
          <p:cNvSpPr txBox="1"/>
          <p:nvPr/>
        </p:nvSpPr>
        <p:spPr>
          <a:xfrm>
            <a:off x="6560616" y="4535640"/>
            <a:ext cx="2556399" cy="24929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74625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rograms: </a:t>
            </a:r>
          </a:p>
          <a:p>
            <a:pPr marL="631825" lvl="1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arker-Dewey</a:t>
            </a:r>
          </a:p>
          <a:p>
            <a:pPr marL="631825" lvl="1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33 Strong Start</a:t>
            </a:r>
          </a:p>
          <a:p>
            <a:pPr marL="631825" lvl="1" indent="-174625" hangingPunct="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1"/>
                </a:solidFill>
              </a:rPr>
              <a:t>Braven</a:t>
            </a:r>
            <a:endParaRPr lang="en-US" sz="1200" dirty="0">
              <a:solidFill>
                <a:schemeClr val="tx1"/>
              </a:solidFill>
            </a:endParaRPr>
          </a:p>
          <a:p>
            <a:pPr marL="631825" lvl="1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Breakthrough Tech</a:t>
            </a:r>
          </a:p>
          <a:p>
            <a:pPr marL="174625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Advocacy:</a:t>
            </a:r>
          </a:p>
          <a:p>
            <a:pPr marL="631825" lvl="1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Young Invincibles</a:t>
            </a:r>
          </a:p>
          <a:p>
            <a:pPr marL="631825" lvl="1" indent="-174625" hangingPunct="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1"/>
                </a:solidFill>
              </a:rPr>
              <a:t>AnitaB</a:t>
            </a:r>
            <a:endParaRPr lang="en-US" sz="1200" dirty="0">
              <a:solidFill>
                <a:schemeClr val="tx1"/>
              </a:solidFill>
            </a:endParaRPr>
          </a:p>
          <a:p>
            <a:pPr marL="631825" lvl="1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Advance Illinois</a:t>
            </a:r>
          </a:p>
          <a:p>
            <a:pPr marL="631825" lvl="1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Women Employed</a:t>
            </a:r>
          </a:p>
          <a:p>
            <a:pPr marL="631825" lvl="1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CC</a:t>
            </a:r>
          </a:p>
          <a:p>
            <a:pPr marL="174625" indent="-174625" hangingPunct="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</a:endParaRPr>
          </a:p>
          <a:p>
            <a:pPr marL="174625" indent="-174625" hangingPunct="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E0A9255-9773-9512-A34E-4F611BB00219}"/>
              </a:ext>
            </a:extLst>
          </p:cNvPr>
          <p:cNvSpPr txBox="1"/>
          <p:nvPr/>
        </p:nvSpPr>
        <p:spPr>
          <a:xfrm>
            <a:off x="9034579" y="4591029"/>
            <a:ext cx="2556399" cy="21236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74625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Hire Non-trad talent:</a:t>
            </a:r>
          </a:p>
          <a:p>
            <a:pPr marL="400050" lvl="1" indent="-174625" hangingPunct="0">
              <a:buFont typeface="Arial" panose="020B0604020202020204" pitchFamily="34" charset="0"/>
              <a:buChar char="•"/>
              <a:tabLst>
                <a:tab pos="400050" algn="l"/>
              </a:tabLst>
            </a:pPr>
            <a:r>
              <a:rPr lang="en-US" sz="1200" dirty="0">
                <a:solidFill>
                  <a:schemeClr val="tx1"/>
                </a:solidFill>
              </a:rPr>
              <a:t>Nonprofits: </a:t>
            </a:r>
            <a:r>
              <a:rPr lang="en-US" sz="1200" dirty="0" err="1">
                <a:solidFill>
                  <a:schemeClr val="tx1"/>
                </a:solidFill>
              </a:rPr>
              <a:t>i.c.stars</a:t>
            </a:r>
            <a:r>
              <a:rPr lang="en-US" sz="1200" dirty="0">
                <a:solidFill>
                  <a:schemeClr val="tx1"/>
                </a:solidFill>
              </a:rPr>
              <a:t>, Per Scholas, National Able</a:t>
            </a:r>
          </a:p>
          <a:p>
            <a:pPr marL="400050" lvl="1" indent="-174625" hangingPunct="0">
              <a:buFont typeface="Arial" panose="020B0604020202020204" pitchFamily="34" charset="0"/>
              <a:buChar char="•"/>
              <a:tabLst>
                <a:tab pos="400050" algn="l"/>
              </a:tabLst>
            </a:pPr>
            <a:r>
              <a:rPr lang="en-US" sz="1200" dirty="0">
                <a:solidFill>
                  <a:schemeClr val="tx1"/>
                </a:solidFill>
              </a:rPr>
              <a:t>Bootcamps, </a:t>
            </a:r>
            <a:r>
              <a:rPr lang="en-US" sz="1200" dirty="0" err="1">
                <a:solidFill>
                  <a:schemeClr val="tx1"/>
                </a:solidFill>
              </a:rPr>
              <a:t>etc</a:t>
            </a:r>
            <a:r>
              <a:rPr lang="en-US" sz="1200" dirty="0">
                <a:solidFill>
                  <a:schemeClr val="tx1"/>
                </a:solidFill>
              </a:rPr>
              <a:t>: Bitwise, General Assembly, Tech Elevator</a:t>
            </a:r>
          </a:p>
          <a:p>
            <a:pPr marL="400050" lvl="1" indent="-174625" hangingPunct="0">
              <a:buFont typeface="Arial" panose="020B0604020202020204" pitchFamily="34" charset="0"/>
              <a:buChar char="•"/>
              <a:tabLst>
                <a:tab pos="400050" algn="l"/>
              </a:tabLst>
            </a:pPr>
            <a:r>
              <a:rPr lang="en-US" sz="1200" dirty="0">
                <a:solidFill>
                  <a:schemeClr val="tx1"/>
                </a:solidFill>
              </a:rPr>
              <a:t>DPI</a:t>
            </a:r>
          </a:p>
          <a:p>
            <a:pPr marL="174625" indent="-174625" hangingPunct="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build more inclusive tech cultures: Latinas in Tech, HACE, </a:t>
            </a:r>
            <a:r>
              <a:rPr lang="en-US" sz="1200" dirty="0" err="1">
                <a:solidFill>
                  <a:schemeClr val="tx1"/>
                </a:solidFill>
              </a:rPr>
              <a:t>AnitaB</a:t>
            </a:r>
            <a:r>
              <a:rPr lang="en-US" sz="1200" dirty="0">
                <a:solidFill>
                  <a:schemeClr val="tx1"/>
                </a:solidFill>
              </a:rPr>
              <a:t>, BWISE, Chicago United, GET Citi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AF65396-F77B-6FF8-CAB0-FE3224E4E964}"/>
              </a:ext>
            </a:extLst>
          </p:cNvPr>
          <p:cNvCxnSpPr>
            <a:cxnSpLocks/>
          </p:cNvCxnSpPr>
          <p:nvPr/>
        </p:nvCxnSpPr>
        <p:spPr>
          <a:xfrm flipV="1">
            <a:off x="317860" y="2422046"/>
            <a:ext cx="11247120" cy="25223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109EA9C-57A7-DCEA-F361-54B9CBA75C85}"/>
              </a:ext>
            </a:extLst>
          </p:cNvPr>
          <p:cNvCxnSpPr>
            <a:cxnSpLocks/>
          </p:cNvCxnSpPr>
          <p:nvPr/>
        </p:nvCxnSpPr>
        <p:spPr>
          <a:xfrm flipV="1">
            <a:off x="317860" y="4522802"/>
            <a:ext cx="11247120" cy="25223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phic 25" descr="Bank with solid fill">
            <a:extLst>
              <a:ext uri="{FF2B5EF4-FFF2-40B4-BE49-F238E27FC236}">
                <a16:creationId xmlns:a16="http://schemas.microsoft.com/office/drawing/2014/main" id="{0A60903F-7CF1-71CD-7B25-1EC9C2C7D0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28169" y="45807"/>
            <a:ext cx="548640" cy="548640"/>
          </a:xfrm>
          <a:prstGeom prst="rect">
            <a:avLst/>
          </a:prstGeom>
        </p:spPr>
      </p:pic>
      <p:pic>
        <p:nvPicPr>
          <p:cNvPr id="36" name="Graphic 35" descr="Home1 with solid fill">
            <a:extLst>
              <a:ext uri="{FF2B5EF4-FFF2-40B4-BE49-F238E27FC236}">
                <a16:creationId xmlns:a16="http://schemas.microsoft.com/office/drawing/2014/main" id="{D9A58C1D-B5BC-FC94-437F-2E6441D3FB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25690" y="35901"/>
            <a:ext cx="548640" cy="548640"/>
          </a:xfrm>
          <a:prstGeom prst="rect">
            <a:avLst/>
          </a:prstGeom>
        </p:spPr>
      </p:pic>
      <p:pic>
        <p:nvPicPr>
          <p:cNvPr id="45" name="Graphic 44" descr="Acorn with solid fill">
            <a:extLst>
              <a:ext uri="{FF2B5EF4-FFF2-40B4-BE49-F238E27FC236}">
                <a16:creationId xmlns:a16="http://schemas.microsoft.com/office/drawing/2014/main" id="{814C0289-3D11-006B-4E55-C87BA3AA28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30048" y="45807"/>
            <a:ext cx="548640" cy="548640"/>
          </a:xfrm>
          <a:prstGeom prst="rect">
            <a:avLst/>
          </a:prstGeom>
        </p:spPr>
      </p:pic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BF8A9DE6-8575-DC08-EF48-6A52722EFB4F}"/>
              </a:ext>
            </a:extLst>
          </p:cNvPr>
          <p:cNvSpPr txBox="1">
            <a:spLocks/>
          </p:cNvSpPr>
          <p:nvPr/>
        </p:nvSpPr>
        <p:spPr>
          <a:xfrm>
            <a:off x="3305757" y="45807"/>
            <a:ext cx="1000859" cy="253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9pPr>
          </a:lstStyle>
          <a:p>
            <a:pPr>
              <a:buNone/>
            </a:pPr>
            <a:r>
              <a:rPr lang="en-US" i="1" dirty="0"/>
              <a:t>Government</a:t>
            </a:r>
          </a:p>
          <a:p>
            <a:pPr marL="228600" indent="-228600">
              <a:buAutoNum type="arabicPeriod"/>
            </a:pPr>
            <a:endParaRPr lang="en-US" i="1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4B6FF3CE-AAF1-125E-B49D-F918D7A5F884}"/>
              </a:ext>
            </a:extLst>
          </p:cNvPr>
          <p:cNvSpPr txBox="1">
            <a:spLocks/>
          </p:cNvSpPr>
          <p:nvPr/>
        </p:nvSpPr>
        <p:spPr>
          <a:xfrm>
            <a:off x="4819116" y="51476"/>
            <a:ext cx="1000859" cy="253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9pPr>
          </a:lstStyle>
          <a:p>
            <a:pPr>
              <a:buNone/>
            </a:pPr>
            <a:r>
              <a:rPr lang="en-US" i="1" dirty="0"/>
              <a:t>Business</a:t>
            </a:r>
          </a:p>
          <a:p>
            <a:pPr marL="228600" indent="-228600">
              <a:buAutoNum type="arabicPeriod"/>
            </a:pPr>
            <a:endParaRPr lang="en-US" i="1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407B2B71-75B4-43DE-68C2-4A8A2F054930}"/>
              </a:ext>
            </a:extLst>
          </p:cNvPr>
          <p:cNvSpPr txBox="1">
            <a:spLocks/>
          </p:cNvSpPr>
          <p:nvPr/>
        </p:nvSpPr>
        <p:spPr>
          <a:xfrm>
            <a:off x="6323576" y="35901"/>
            <a:ext cx="1000859" cy="253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9pPr>
          </a:lstStyle>
          <a:p>
            <a:pPr>
              <a:buNone/>
            </a:pPr>
            <a:r>
              <a:rPr lang="en-US" i="1" dirty="0"/>
              <a:t>Philanthropy</a:t>
            </a:r>
          </a:p>
          <a:p>
            <a:pPr marL="228600" indent="-228600">
              <a:buAutoNum type="arabicPeriod"/>
            </a:pPr>
            <a:endParaRPr lang="en-US" i="1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05A540DA-CF53-B06D-D524-ACC762BA1418}"/>
              </a:ext>
            </a:extLst>
          </p:cNvPr>
          <p:cNvSpPr txBox="1">
            <a:spLocks/>
          </p:cNvSpPr>
          <p:nvPr/>
        </p:nvSpPr>
        <p:spPr>
          <a:xfrm>
            <a:off x="7918608" y="77879"/>
            <a:ext cx="1000859" cy="253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9pPr>
          </a:lstStyle>
          <a:p>
            <a:pPr>
              <a:buNone/>
            </a:pPr>
            <a:r>
              <a:rPr lang="en-US" i="1" dirty="0"/>
              <a:t>CBOs</a:t>
            </a:r>
          </a:p>
          <a:p>
            <a:pPr marL="228600" indent="-228600">
              <a:buAutoNum type="arabicPeriod"/>
            </a:pPr>
            <a:endParaRPr lang="en-US" i="1" dirty="0"/>
          </a:p>
        </p:txBody>
      </p:sp>
      <p:pic>
        <p:nvPicPr>
          <p:cNvPr id="61" name="Graphic 60" descr="Factory with solid fill">
            <a:extLst>
              <a:ext uri="{FF2B5EF4-FFF2-40B4-BE49-F238E27FC236}">
                <a16:creationId xmlns:a16="http://schemas.microsoft.com/office/drawing/2014/main" id="{921CD1AE-CB2C-480B-1E54-9DDFE44FFE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06659" y="36800"/>
            <a:ext cx="548640" cy="548640"/>
          </a:xfrm>
          <a:prstGeom prst="rect">
            <a:avLst/>
          </a:prstGeom>
        </p:spPr>
      </p:pic>
      <p:pic>
        <p:nvPicPr>
          <p:cNvPr id="65" name="Graphic 64" descr="Schoolhouse outline">
            <a:extLst>
              <a:ext uri="{FF2B5EF4-FFF2-40B4-BE49-F238E27FC236}">
                <a16:creationId xmlns:a16="http://schemas.microsoft.com/office/drawing/2014/main" id="{5DFDECB1-6564-B186-EFD9-50E16B56122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708861" y="30846"/>
            <a:ext cx="548640" cy="548640"/>
          </a:xfrm>
          <a:prstGeom prst="rect">
            <a:avLst/>
          </a:prstGeom>
        </p:spPr>
      </p:pic>
      <p:pic>
        <p:nvPicPr>
          <p:cNvPr id="69" name="Graphic 68" descr="Schoolhouse with solid fill">
            <a:extLst>
              <a:ext uri="{FF2B5EF4-FFF2-40B4-BE49-F238E27FC236}">
                <a16:creationId xmlns:a16="http://schemas.microsoft.com/office/drawing/2014/main" id="{A3B7A1DC-67B3-E12E-449A-487C838C33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258360" y="30372"/>
            <a:ext cx="548640" cy="548640"/>
          </a:xfrm>
          <a:prstGeom prst="rect">
            <a:avLst/>
          </a:prstGeom>
        </p:spPr>
      </p:pic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F65FDB1A-6374-9ED9-5227-8A29FDAB6DE9}"/>
              </a:ext>
            </a:extLst>
          </p:cNvPr>
          <p:cNvSpPr txBox="1">
            <a:spLocks/>
          </p:cNvSpPr>
          <p:nvPr/>
        </p:nvSpPr>
        <p:spPr>
          <a:xfrm>
            <a:off x="9257501" y="11491"/>
            <a:ext cx="1000859" cy="253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9pPr>
          </a:lstStyle>
          <a:p>
            <a:pPr>
              <a:buNone/>
            </a:pPr>
            <a:r>
              <a:rPr lang="en-US" i="1" dirty="0"/>
              <a:t>K-12 Education</a:t>
            </a:r>
          </a:p>
          <a:p>
            <a:pPr marL="228600" indent="-228600">
              <a:buAutoNum type="arabicPeriod"/>
            </a:pPr>
            <a:endParaRPr lang="en-US" i="1" dirty="0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95CA62D-F67C-6985-1FD6-3F509D6F5674}"/>
              </a:ext>
            </a:extLst>
          </p:cNvPr>
          <p:cNvSpPr txBox="1">
            <a:spLocks/>
          </p:cNvSpPr>
          <p:nvPr/>
        </p:nvSpPr>
        <p:spPr>
          <a:xfrm>
            <a:off x="10695557" y="67164"/>
            <a:ext cx="1000859" cy="253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9pPr>
          </a:lstStyle>
          <a:p>
            <a:pPr>
              <a:buNone/>
            </a:pPr>
            <a:r>
              <a:rPr lang="en-US" i="1" dirty="0"/>
              <a:t>College</a:t>
            </a:r>
          </a:p>
          <a:p>
            <a:pPr marL="228600" indent="-228600">
              <a:buAutoNum type="arabicPeriod"/>
            </a:pPr>
            <a:endParaRPr lang="en-US" i="1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D15E920-C45F-E157-9DF5-DC659CBE178D}"/>
              </a:ext>
            </a:extLst>
          </p:cNvPr>
          <p:cNvSpPr txBox="1"/>
          <p:nvPr/>
        </p:nvSpPr>
        <p:spPr>
          <a:xfrm>
            <a:off x="4059487" y="2451933"/>
            <a:ext cx="2483567" cy="230832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</a:rPr>
              <a:t>Improve algebra and calculus education across the district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</a:rPr>
              <a:t>Enroll more Black and Latino students in AP Computer Science and other advanced programs by investing in teacher PD and certifica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</a:rPr>
              <a:t>Fund and partner with nonprofits and companies to bring enrichment opportunities to high school students</a:t>
            </a:r>
          </a:p>
          <a:p>
            <a:pPr marL="228600" indent="-228600">
              <a:buFont typeface="+mj-lt"/>
              <a:buAutoNum type="arabicPeriod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C11CCE2-EDFA-6C89-F3B1-20A8FB998AB3}"/>
              </a:ext>
            </a:extLst>
          </p:cNvPr>
          <p:cNvSpPr txBox="1"/>
          <p:nvPr/>
        </p:nvSpPr>
        <p:spPr>
          <a:xfrm>
            <a:off x="1586884" y="2451933"/>
            <a:ext cx="2483567" cy="21236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</a:rPr>
              <a:t>Improve school access to quality math and science teachers through funding and policy reform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</a:rPr>
              <a:t>Expand student access to after school and summer opportunities in STEM through funding and partnerships 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</a:rPr>
              <a:t>Offer Exploring Computer Science (ECS) in junior high</a:t>
            </a:r>
          </a:p>
          <a:p>
            <a:pPr marL="228600" indent="-228600">
              <a:buFont typeface="+mj-lt"/>
              <a:buAutoNum type="arabicPeriod"/>
            </a:pP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33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9fA5wVRKivmiwZ98irq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TwH_FqTDONQbjT1K5JG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RbPv5LTiueI5BfH_W_C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ZibZNpR8a2kp40h.Jic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uKfNoDS9GV3q2yC3GT_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TqhTm4Rm2GXhYKUzekM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Nu.ZTPTWaUtEFYkcGJZ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f8pcDJRmadaarSNEuLp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VjjqjJT9WKGX_dX7w8d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irFxuRaiyQK5EPP4Fy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loVXAQzi1cPyHq49u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t6YS2vTlWLIenoxgmwf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Zk5i75SeGnko3pkwXg5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jQLl9gSF.ehT8F0QyTi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UlWaN8SqqGlQLoFfpMg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vi0l6wQw6Exvfgjtm4Q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v61yypTc.G0taSHV_Mc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.WZVrwTzekM4f0jaN9n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j9iaUrTAaiAr0zofx0S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9hNfAgQqyVZoNxqSd7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ZCh2m0Tn6tyQBcTGgu8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YXWDKYRKibannwyB48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c7t9y0QAi2Tp_EjPuV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a2CDl_RguF8LDTOHCWG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U2ra.FR2KAuA5SRNyK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JEvln8SfmNTGTlrx.u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51JmJ.SU.QFjwybTLDX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2VZnOySxaaDrlaio6v5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E6VcjPRk6mom39EWH2I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nngb0HR6GpgXBOuetV5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2WNacBSjm5.X7Tnhj3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ppowXVQNK1vSImZ3uWc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Y3wCJcQGa5STdN3YEzA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JHEI_zT8aG_jMtDDs5O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jV1.0xQ42KwUa5K2aJm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kx_u4tS3Cm7.QQVg_CD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mC2_ZDTtuhfkcXvU.nM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51JmJ.SU.QFjwybTLDX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kuiDXCSu.cplzwsTYQC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IaKPGiQmOCJCTjDOibA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Q8ntQFQfKODMsC9SFyk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vSBRnZSQmLGxoOrW1ep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flFwyvROq.s6ebd1ro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J_1MVRSHiFh18rEq5nB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2v9x0fTr.kKYJESOYCU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_UaKA1Rxy31hzvifZhg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.pJiER5.x2eaqgU3ziQ"/>
</p:tagLst>
</file>

<file path=ppt/theme/theme1.xml><?xml version="1.0" encoding="utf-8"?>
<a:theme xmlns:a="http://schemas.openxmlformats.org/drawingml/2006/main" name="2_BCG Grid 16:9">
  <a:themeElements>
    <a:clrScheme name="p33">
      <a:dk1>
        <a:srgbClr val="000000"/>
      </a:dk1>
      <a:lt1>
        <a:sysClr val="window" lastClr="FFFFFF"/>
      </a:lt1>
      <a:dk2>
        <a:srgbClr val="1F4174"/>
      </a:dk2>
      <a:lt2>
        <a:srgbClr val="F2F2F2"/>
      </a:lt2>
      <a:accent1>
        <a:srgbClr val="162D4E"/>
      </a:accent1>
      <a:accent2>
        <a:srgbClr val="295E7E"/>
      </a:accent2>
      <a:accent3>
        <a:srgbClr val="D4DF33"/>
      </a:accent3>
      <a:accent4>
        <a:srgbClr val="2B9CDA"/>
      </a:accent4>
      <a:accent5>
        <a:srgbClr val="606164"/>
      </a:accent5>
      <a:accent6>
        <a:srgbClr val="8064A2"/>
      </a:accent6>
      <a:hlink>
        <a:srgbClr val="1F4174"/>
      </a:hlink>
      <a:folHlink>
        <a:srgbClr val="1A365E"/>
      </a:folHlink>
    </a:clrScheme>
    <a:fontScheme name="Arial Black/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12043"/>
        </a:solidFill>
        <a:ln w="19050">
          <a:solidFill>
            <a:srgbClr val="2F539C"/>
          </a:solidFill>
          <a:prstDash val="sysDot"/>
          <a:headEnd type="none" w="med" len="med"/>
          <a:tailEnd type="oval" w="med" len="med"/>
        </a:ln>
      </a:spPr>
      <a:bodyPr lIns="762000" rtlCol="0" anchor="ctr"/>
      <a:lstStyle>
        <a:defPPr algn="ctr" hangingPunct="0">
          <a:defRPr sz="1500" b="1" kern="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  <a:sym typeface="Calibri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8e55a4e-4e5a-40be-a397-ca718728b779">
      <Terms xmlns="http://schemas.microsoft.com/office/infopath/2007/PartnerControls"/>
    </lcf76f155ced4ddcb4097134ff3c332f>
    <TaxCatchAll xmlns="4c08a506-cfed-4b4b-bfb5-d4d499713b4d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D744748B0BA64FA20DD61F211598B3" ma:contentTypeVersion="16" ma:contentTypeDescription="Create a new document." ma:contentTypeScope="" ma:versionID="b1c7bbd9f38c0a2d33beee53429ae325">
  <xsd:schema xmlns:xsd="http://www.w3.org/2001/XMLSchema" xmlns:xs="http://www.w3.org/2001/XMLSchema" xmlns:p="http://schemas.microsoft.com/office/2006/metadata/properties" xmlns:ns2="f8e55a4e-4e5a-40be-a397-ca718728b779" xmlns:ns3="4c08a506-cfed-4b4b-bfb5-d4d499713b4d" targetNamespace="http://schemas.microsoft.com/office/2006/metadata/properties" ma:root="true" ma:fieldsID="895f4a5b764bdd5876965ddbb95c5a6c" ns2:_="" ns3:_="">
    <xsd:import namespace="f8e55a4e-4e5a-40be-a397-ca718728b779"/>
    <xsd:import namespace="4c08a506-cfed-4b4b-bfb5-d4d499713b4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e55a4e-4e5a-40be-a397-ca718728b7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d490b69-d71c-469c-a1f3-c33393f8cb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08a506-cfed-4b4b-bfb5-d4d499713b4d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b18f6d32-1c94-4438-aec9-008bb75d8494}" ma:internalName="TaxCatchAll" ma:showField="CatchAllData" ma:web="4c08a506-cfed-4b4b-bfb5-d4d499713b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A69B1EC-7208-41A3-9DDB-ABA16F73D475}">
  <ds:schemaRefs>
    <ds:schemaRef ds:uri="http://schemas.microsoft.com/office/2006/metadata/properties"/>
    <ds:schemaRef ds:uri="http://schemas.microsoft.com/office/infopath/2007/PartnerControls"/>
    <ds:schemaRef ds:uri="f8e55a4e-4e5a-40be-a397-ca718728b779"/>
    <ds:schemaRef ds:uri="4c08a506-cfed-4b4b-bfb5-d4d499713b4d"/>
  </ds:schemaRefs>
</ds:datastoreItem>
</file>

<file path=customXml/itemProps2.xml><?xml version="1.0" encoding="utf-8"?>
<ds:datastoreItem xmlns:ds="http://schemas.openxmlformats.org/officeDocument/2006/customXml" ds:itemID="{B8C13389-38F7-4BED-B5E5-42F4A249F9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e55a4e-4e5a-40be-a397-ca718728b779"/>
    <ds:schemaRef ds:uri="4c08a506-cfed-4b4b-bfb5-d4d499713b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7B158F5-9E77-4711-97ED-C43A33015FE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3925</TotalTime>
  <Words>333</Words>
  <Application>Microsoft Office PowerPoint</Application>
  <PresentationFormat>Widescreen</PresentationFormat>
  <Paragraphs>5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Black</vt:lpstr>
      <vt:lpstr>Calibri</vt:lpstr>
      <vt:lpstr>Open Sans</vt:lpstr>
      <vt:lpstr>Trebuchet MS</vt:lpstr>
      <vt:lpstr>2_BCG Grid 16:9</vt:lpstr>
      <vt:lpstr>think-cell Slide</vt:lpstr>
      <vt:lpstr>Recs/ CT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stefania Espinosa</dc:creator>
  <cp:lastModifiedBy>Zhang Zheng</cp:lastModifiedBy>
  <cp:revision>4</cp:revision>
  <dcterms:created xsi:type="dcterms:W3CDTF">2020-08-24T15:27:57Z</dcterms:created>
  <dcterms:modified xsi:type="dcterms:W3CDTF">2022-09-13T18:0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CD744748B0BA64FA20DD61F211598B3</vt:lpwstr>
  </property>
  <property fmtid="{D5CDD505-2E9C-101B-9397-08002B2CF9AE}" pid="3" name="MediaServiceImageTags">
    <vt:lpwstr/>
  </property>
</Properties>
</file>